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648" r:id="rId4"/>
  </p:sldMasterIdLst>
  <p:notesMasterIdLst>
    <p:notesMasterId r:id="rId11"/>
  </p:notesMasterIdLst>
  <p:handoutMasterIdLst>
    <p:handoutMasterId r:id="rId12"/>
  </p:handoutMasterIdLst>
  <p:sldIdLst>
    <p:sldId id="256" r:id="rId5"/>
    <p:sldId id="319" r:id="rId6"/>
    <p:sldId id="316" r:id="rId7"/>
    <p:sldId id="317" r:id="rId8"/>
    <p:sldId id="318" r:id="rId9"/>
    <p:sldId id="313" r:id="rId10"/>
  </p:sldIdLst>
  <p:sldSz cx="12192000" cy="6858000"/>
  <p:notesSz cx="6950075" cy="923607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ria Davis" initials="AD" lastIdx="2" clrIdx="0">
    <p:extLst>
      <p:ext uri="{19B8F6BF-5375-455C-9EA6-DF929625EA0E}">
        <p15:presenceInfo xmlns:p15="http://schemas.microsoft.com/office/powerpoint/2012/main" userId="S::alexandria.davis@navigant.com::84db2cf8-04f8-4e02-891a-a810ba8088e2" providerId="AD"/>
      </p:ext>
    </p:extLst>
  </p:cmAuthor>
  <p:cmAuthor id="2" name="Katherine West" initials="KW" lastIdx="6" clrIdx="1">
    <p:extLst>
      <p:ext uri="{19B8F6BF-5375-455C-9EA6-DF929625EA0E}">
        <p15:presenceInfo xmlns:p15="http://schemas.microsoft.com/office/powerpoint/2012/main" userId="S::katherine.west@navigant.com::d6388b67-3e78-4329-b7e6-cb17043695f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C58410AB-49FD-4155-AA68-D7106E744336}">
  <a:tblStyle styleId="{C58410AB-49FD-4155-AA68-D7106E744336}" styleName="Guidehouse Table 01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>
              <a:solidFill>
                <a:srgbClr val="7F7F7F"/>
              </a:solidFill>
            </a:ln>
          </a:top>
          <a:bottom>
            <a:ln w="9525">
              <a:solidFill>
                <a:srgbClr val="7F7F7F"/>
              </a:solidFill>
            </a:ln>
          </a:bottom>
          <a:insideH>
            <a:ln w="9525">
              <a:solidFill>
                <a:srgbClr val="7F7F7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solidFill>
            <a:srgbClr val="F4F4F4"/>
          </a:solidFill>
        </a:fill>
      </a:tcStyle>
    </a:band2H>
    <a:band1V>
      <a:tcStyle>
        <a:tcBdr/>
        <a:fill>
          <a:solidFill>
            <a:srgbClr val="F4F4F4"/>
          </a:solidFill>
        </a:fill>
      </a:tcStyle>
    </a:band1V>
    <a:band2V>
      <a:tcStyle>
        <a:tcBdr/>
        <a:fill>
          <a:noFill/>
        </a:fill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9050">
              <a:solidFill>
                <a:srgbClr val="7F7F7F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/>
      <a:tcStyle>
        <a:tcBdr>
          <a:top>
            <a:ln>
              <a:noFill/>
            </a:ln>
          </a:top>
          <a:bottom>
            <a:ln w="19050">
              <a:solidFill>
                <a:srgbClr val="7F7F7F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56"/>
  </p:normalViewPr>
  <p:slideViewPr>
    <p:cSldViewPr snapToGrid="0" showGuides="1">
      <p:cViewPr varScale="1">
        <p:scale>
          <a:sx n="63" d="100"/>
          <a:sy n="63" d="100"/>
        </p:scale>
        <p:origin x="732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66" d="100"/>
          <a:sy n="166" d="100"/>
        </p:scale>
        <p:origin x="667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zabela Kielichowska" userId="8db4eba2-3fdf-477a-8783-895caa6eca96" providerId="ADAL" clId="{FBA06D0D-45E9-4F16-A0C4-F09D044674E0}"/>
    <pc:docChg chg="undo custSel modSld modNotesMaster modHandout">
      <pc:chgData name="Izabela Kielichowska" userId="8db4eba2-3fdf-477a-8783-895caa6eca96" providerId="ADAL" clId="{FBA06D0D-45E9-4F16-A0C4-F09D044674E0}" dt="2020-10-05T14:30:34.131" v="2046" actId="20577"/>
      <pc:docMkLst>
        <pc:docMk/>
      </pc:docMkLst>
      <pc:sldChg chg="modSp">
        <pc:chgData name="Izabela Kielichowska" userId="8db4eba2-3fdf-477a-8783-895caa6eca96" providerId="ADAL" clId="{FBA06D0D-45E9-4F16-A0C4-F09D044674E0}" dt="2020-10-05T13:53:12.663" v="98" actId="790"/>
        <pc:sldMkLst>
          <pc:docMk/>
          <pc:sldMk cId="2090374411" sldId="256"/>
        </pc:sldMkLst>
        <pc:spChg chg="mod">
          <ac:chgData name="Izabela Kielichowska" userId="8db4eba2-3fdf-477a-8783-895caa6eca96" providerId="ADAL" clId="{FBA06D0D-45E9-4F16-A0C4-F09D044674E0}" dt="2020-10-05T13:53:12.663" v="98" actId="790"/>
          <ac:spMkLst>
            <pc:docMk/>
            <pc:sldMk cId="2090374411" sldId="256"/>
            <ac:spMk id="2" creationId="{8AB9DB62-7740-4015-9623-764DF9201FC5}"/>
          </ac:spMkLst>
        </pc:spChg>
        <pc:spChg chg="mod">
          <ac:chgData name="Izabela Kielichowska" userId="8db4eba2-3fdf-477a-8783-895caa6eca96" providerId="ADAL" clId="{FBA06D0D-45E9-4F16-A0C4-F09D044674E0}" dt="2020-10-05T13:52:40.429" v="72" actId="20577"/>
          <ac:spMkLst>
            <pc:docMk/>
            <pc:sldMk cId="2090374411" sldId="256"/>
            <ac:spMk id="5" creationId="{5CEBBB1D-F7D8-D340-BD20-6F0A5E12BD08}"/>
          </ac:spMkLst>
        </pc:spChg>
        <pc:spChg chg="mod">
          <ac:chgData name="Izabela Kielichowska" userId="8db4eba2-3fdf-477a-8783-895caa6eca96" providerId="ADAL" clId="{FBA06D0D-45E9-4F16-A0C4-F09D044674E0}" dt="2020-10-05T13:52:56.124" v="94" actId="20577"/>
          <ac:spMkLst>
            <pc:docMk/>
            <pc:sldMk cId="2090374411" sldId="256"/>
            <ac:spMk id="6" creationId="{82C63F81-1062-794D-9B57-DA332B71EDC0}"/>
          </ac:spMkLst>
        </pc:spChg>
      </pc:sldChg>
      <pc:sldChg chg="addSp modSp">
        <pc:chgData name="Izabela Kielichowska" userId="8db4eba2-3fdf-477a-8783-895caa6eca96" providerId="ADAL" clId="{FBA06D0D-45E9-4F16-A0C4-F09D044674E0}" dt="2020-10-05T14:16:41.173" v="2021" actId="14100"/>
        <pc:sldMkLst>
          <pc:docMk/>
          <pc:sldMk cId="3766653959" sldId="313"/>
        </pc:sldMkLst>
        <pc:spChg chg="add mod">
          <ac:chgData name="Izabela Kielichowska" userId="8db4eba2-3fdf-477a-8783-895caa6eca96" providerId="ADAL" clId="{FBA06D0D-45E9-4F16-A0C4-F09D044674E0}" dt="2020-10-05T14:16:41.173" v="2021" actId="14100"/>
          <ac:spMkLst>
            <pc:docMk/>
            <pc:sldMk cId="3766653959" sldId="313"/>
            <ac:spMk id="3" creationId="{4D91D61F-C5A9-4AD8-84BB-6F8F245FD73D}"/>
          </ac:spMkLst>
        </pc:spChg>
      </pc:sldChg>
      <pc:sldChg chg="addSp delSp modSp mod">
        <pc:chgData name="Izabela Kielichowska" userId="8db4eba2-3fdf-477a-8783-895caa6eca96" providerId="ADAL" clId="{FBA06D0D-45E9-4F16-A0C4-F09D044674E0}" dt="2020-10-05T14:28:49.586" v="2033" actId="20577"/>
        <pc:sldMkLst>
          <pc:docMk/>
          <pc:sldMk cId="1846125506" sldId="316"/>
        </pc:sldMkLst>
        <pc:spChg chg="mod">
          <ac:chgData name="Izabela Kielichowska" userId="8db4eba2-3fdf-477a-8783-895caa6eca96" providerId="ADAL" clId="{FBA06D0D-45E9-4F16-A0C4-F09D044674E0}" dt="2020-10-05T13:58:28.308" v="637" actId="20577"/>
          <ac:spMkLst>
            <pc:docMk/>
            <pc:sldMk cId="1846125506" sldId="316"/>
            <ac:spMk id="3" creationId="{0370CBB7-3974-494A-B970-413423F0ACF8}"/>
          </ac:spMkLst>
        </pc:spChg>
        <pc:spChg chg="mod">
          <ac:chgData name="Izabela Kielichowska" userId="8db4eba2-3fdf-477a-8783-895caa6eca96" providerId="ADAL" clId="{FBA06D0D-45E9-4F16-A0C4-F09D044674E0}" dt="2020-10-05T13:59:08.490" v="717" actId="404"/>
          <ac:spMkLst>
            <pc:docMk/>
            <pc:sldMk cId="1846125506" sldId="316"/>
            <ac:spMk id="12" creationId="{115849AD-6865-4CB0-9003-3A1FB4D3DDE7}"/>
          </ac:spMkLst>
        </pc:spChg>
        <pc:spChg chg="mod">
          <ac:chgData name="Izabela Kielichowska" userId="8db4eba2-3fdf-477a-8783-895caa6eca96" providerId="ADAL" clId="{FBA06D0D-45E9-4F16-A0C4-F09D044674E0}" dt="2020-10-05T14:03:11.824" v="929" actId="20577"/>
          <ac:spMkLst>
            <pc:docMk/>
            <pc:sldMk cId="1846125506" sldId="316"/>
            <ac:spMk id="13" creationId="{4CAF0722-733D-410E-B1B4-F0A23B0F7EBF}"/>
          </ac:spMkLst>
        </pc:spChg>
        <pc:graphicFrameChg chg="mod">
          <ac:chgData name="Izabela Kielichowska" userId="8db4eba2-3fdf-477a-8783-895caa6eca96" providerId="ADAL" clId="{FBA06D0D-45E9-4F16-A0C4-F09D044674E0}" dt="2020-10-05T14:28:49.586" v="2033" actId="20577"/>
          <ac:graphicFrameMkLst>
            <pc:docMk/>
            <pc:sldMk cId="1846125506" sldId="316"/>
            <ac:graphicFrameMk id="14" creationId="{F36CA2D9-92F2-419B-8053-6F0699844F39}"/>
          </ac:graphicFrameMkLst>
        </pc:graphicFrameChg>
        <pc:picChg chg="del">
          <ac:chgData name="Izabela Kielichowska" userId="8db4eba2-3fdf-477a-8783-895caa6eca96" providerId="ADAL" clId="{FBA06D0D-45E9-4F16-A0C4-F09D044674E0}" dt="2020-10-05T14:02:51.236" v="910" actId="478"/>
          <ac:picMkLst>
            <pc:docMk/>
            <pc:sldMk cId="1846125506" sldId="316"/>
            <ac:picMk id="10" creationId="{6562A650-77A4-4F73-9FD0-262A9C400831}"/>
          </ac:picMkLst>
        </pc:picChg>
        <pc:picChg chg="add mod">
          <ac:chgData name="Izabela Kielichowska" userId="8db4eba2-3fdf-477a-8783-895caa6eca96" providerId="ADAL" clId="{FBA06D0D-45E9-4F16-A0C4-F09D044674E0}" dt="2020-10-05T14:03:02.420" v="914" actId="14100"/>
          <ac:picMkLst>
            <pc:docMk/>
            <pc:sldMk cId="1846125506" sldId="316"/>
            <ac:picMk id="15" creationId="{3505AD3B-7072-4DBC-B9E6-50D0D4CC558C}"/>
          </ac:picMkLst>
        </pc:picChg>
      </pc:sldChg>
      <pc:sldChg chg="modSp">
        <pc:chgData name="Izabela Kielichowska" userId="8db4eba2-3fdf-477a-8783-895caa6eca96" providerId="ADAL" clId="{FBA06D0D-45E9-4F16-A0C4-F09D044674E0}" dt="2020-10-05T14:30:13.433" v="2042" actId="20577"/>
        <pc:sldMkLst>
          <pc:docMk/>
          <pc:sldMk cId="4287395640" sldId="317"/>
        </pc:sldMkLst>
        <pc:spChg chg="mod">
          <ac:chgData name="Izabela Kielichowska" userId="8db4eba2-3fdf-477a-8783-895caa6eca96" providerId="ADAL" clId="{FBA06D0D-45E9-4F16-A0C4-F09D044674E0}" dt="2020-10-05T14:03:37.671" v="995" actId="6549"/>
          <ac:spMkLst>
            <pc:docMk/>
            <pc:sldMk cId="4287395640" sldId="317"/>
            <ac:spMk id="3" creationId="{3574CAB4-5972-44DC-9F1F-C4CDB55C0268}"/>
          </ac:spMkLst>
        </pc:spChg>
        <pc:spChg chg="mod">
          <ac:chgData name="Izabela Kielichowska" userId="8db4eba2-3fdf-477a-8783-895caa6eca96" providerId="ADAL" clId="{FBA06D0D-45E9-4F16-A0C4-F09D044674E0}" dt="2020-10-05T14:30:13.433" v="2042" actId="20577"/>
          <ac:spMkLst>
            <pc:docMk/>
            <pc:sldMk cId="4287395640" sldId="317"/>
            <ac:spMk id="12" creationId="{7F5E1A16-7AC4-4B84-A35D-A2F7C2CEE948}"/>
          </ac:spMkLst>
        </pc:spChg>
        <pc:graphicFrameChg chg="modGraphic">
          <ac:chgData name="Izabela Kielichowska" userId="8db4eba2-3fdf-477a-8783-895caa6eca96" providerId="ADAL" clId="{FBA06D0D-45E9-4F16-A0C4-F09D044674E0}" dt="2020-10-05T14:29:50.588" v="2036" actId="20577"/>
          <ac:graphicFrameMkLst>
            <pc:docMk/>
            <pc:sldMk cId="4287395640" sldId="317"/>
            <ac:graphicFrameMk id="11" creationId="{462D5B8D-B5A0-4F34-8424-A1075AE9DC46}"/>
          </ac:graphicFrameMkLst>
        </pc:graphicFrameChg>
      </pc:sldChg>
      <pc:sldChg chg="modSp mod">
        <pc:chgData name="Izabela Kielichowska" userId="8db4eba2-3fdf-477a-8783-895caa6eca96" providerId="ADAL" clId="{FBA06D0D-45E9-4F16-A0C4-F09D044674E0}" dt="2020-10-05T14:30:34.131" v="2046" actId="20577"/>
        <pc:sldMkLst>
          <pc:docMk/>
          <pc:sldMk cId="1736003373" sldId="318"/>
        </pc:sldMkLst>
        <pc:spChg chg="mod">
          <ac:chgData name="Izabela Kielichowska" userId="8db4eba2-3fdf-477a-8783-895caa6eca96" providerId="ADAL" clId="{FBA06D0D-45E9-4F16-A0C4-F09D044674E0}" dt="2020-10-05T14:30:28.502" v="2045" actId="20577"/>
          <ac:spMkLst>
            <pc:docMk/>
            <pc:sldMk cId="1736003373" sldId="318"/>
            <ac:spMk id="3" creationId="{D2DC3E44-AF9E-4A7A-95AB-6681BAF749CA}"/>
          </ac:spMkLst>
        </pc:spChg>
        <pc:graphicFrameChg chg="mod">
          <ac:chgData name="Izabela Kielichowska" userId="8db4eba2-3fdf-477a-8783-895caa6eca96" providerId="ADAL" clId="{FBA06D0D-45E9-4F16-A0C4-F09D044674E0}" dt="2020-10-05T14:30:34.131" v="2046" actId="20577"/>
          <ac:graphicFrameMkLst>
            <pc:docMk/>
            <pc:sldMk cId="1736003373" sldId="318"/>
            <ac:graphicFrameMk id="11" creationId="{E6411AA0-A1EA-41D7-A16E-22BFAFF37533}"/>
          </ac:graphicFrameMkLst>
        </pc:graphicFrameChg>
      </pc:sldChg>
      <pc:sldChg chg="modSp">
        <pc:chgData name="Izabela Kielichowska" userId="8db4eba2-3fdf-477a-8783-895caa6eca96" providerId="ADAL" clId="{FBA06D0D-45E9-4F16-A0C4-F09D044674E0}" dt="2020-10-05T14:28:27.343" v="2031" actId="20577"/>
        <pc:sldMkLst>
          <pc:docMk/>
          <pc:sldMk cId="126684070" sldId="319"/>
        </pc:sldMkLst>
        <pc:spChg chg="mod">
          <ac:chgData name="Izabela Kielichowska" userId="8db4eba2-3fdf-477a-8783-895caa6eca96" providerId="ADAL" clId="{FBA06D0D-45E9-4F16-A0C4-F09D044674E0}" dt="2020-10-05T13:53:50.897" v="181" actId="20577"/>
          <ac:spMkLst>
            <pc:docMk/>
            <pc:sldMk cId="126684070" sldId="319"/>
            <ac:spMk id="3" creationId="{A43DA5EE-F5CB-4EBA-9E2C-BF031193E2F6}"/>
          </ac:spMkLst>
        </pc:spChg>
        <pc:spChg chg="mod">
          <ac:chgData name="Izabela Kielichowska" userId="8db4eba2-3fdf-477a-8783-895caa6eca96" providerId="ADAL" clId="{FBA06D0D-45E9-4F16-A0C4-F09D044674E0}" dt="2020-10-05T13:54:01.460" v="199" actId="20577"/>
          <ac:spMkLst>
            <pc:docMk/>
            <pc:sldMk cId="126684070" sldId="319"/>
            <ac:spMk id="5" creationId="{3A385F5F-D789-4A19-813C-706CCB464169}"/>
          </ac:spMkLst>
        </pc:spChg>
        <pc:spChg chg="mod">
          <ac:chgData name="Izabela Kielichowska" userId="8db4eba2-3fdf-477a-8783-895caa6eca96" providerId="ADAL" clId="{FBA06D0D-45E9-4F16-A0C4-F09D044674E0}" dt="2020-10-05T13:54:10.410" v="214" actId="20577"/>
          <ac:spMkLst>
            <pc:docMk/>
            <pc:sldMk cId="126684070" sldId="319"/>
            <ac:spMk id="6" creationId="{B9AB331F-8659-4C45-8ECA-EC30DCF2CC8E}"/>
          </ac:spMkLst>
        </pc:spChg>
        <pc:spChg chg="mod">
          <ac:chgData name="Izabela Kielichowska" userId="8db4eba2-3fdf-477a-8783-895caa6eca96" providerId="ADAL" clId="{FBA06D0D-45E9-4F16-A0C4-F09D044674E0}" dt="2020-10-05T13:54:13.433" v="219" actId="20577"/>
          <ac:spMkLst>
            <pc:docMk/>
            <pc:sldMk cId="126684070" sldId="319"/>
            <ac:spMk id="7" creationId="{67B51003-4995-4FBA-998F-0DB9535716CA}"/>
          </ac:spMkLst>
        </pc:spChg>
        <pc:spChg chg="mod">
          <ac:chgData name="Izabela Kielichowska" userId="8db4eba2-3fdf-477a-8783-895caa6eca96" providerId="ADAL" clId="{FBA06D0D-45E9-4F16-A0C4-F09D044674E0}" dt="2020-10-05T13:56:01.373" v="505" actId="255"/>
          <ac:spMkLst>
            <pc:docMk/>
            <pc:sldMk cId="126684070" sldId="319"/>
            <ac:spMk id="8" creationId="{D096D462-979D-447E-BC61-161144EC0006}"/>
          </ac:spMkLst>
        </pc:spChg>
        <pc:spChg chg="mod">
          <ac:chgData name="Izabela Kielichowska" userId="8db4eba2-3fdf-477a-8783-895caa6eca96" providerId="ADAL" clId="{FBA06D0D-45E9-4F16-A0C4-F09D044674E0}" dt="2020-10-05T13:56:01.373" v="505" actId="255"/>
          <ac:spMkLst>
            <pc:docMk/>
            <pc:sldMk cId="126684070" sldId="319"/>
            <ac:spMk id="9" creationId="{FEAD859D-B59D-44B5-9E5C-DA1B27D14C28}"/>
          </ac:spMkLst>
        </pc:spChg>
        <pc:spChg chg="mod">
          <ac:chgData name="Izabela Kielichowska" userId="8db4eba2-3fdf-477a-8783-895caa6eca96" providerId="ADAL" clId="{FBA06D0D-45E9-4F16-A0C4-F09D044674E0}" dt="2020-10-05T13:56:18.063" v="548" actId="20577"/>
          <ac:spMkLst>
            <pc:docMk/>
            <pc:sldMk cId="126684070" sldId="319"/>
            <ac:spMk id="10" creationId="{B57E08E1-B798-4A56-B7AB-32AB86DC66F8}"/>
          </ac:spMkLst>
        </pc:spChg>
        <pc:spChg chg="mod">
          <ac:chgData name="Izabela Kielichowska" userId="8db4eba2-3fdf-477a-8783-895caa6eca96" providerId="ADAL" clId="{FBA06D0D-45E9-4F16-A0C4-F09D044674E0}" dt="2020-10-05T13:56:01.373" v="505" actId="255"/>
          <ac:spMkLst>
            <pc:docMk/>
            <pc:sldMk cId="126684070" sldId="319"/>
            <ac:spMk id="11" creationId="{F87B8AB5-52A8-441A-B119-527FA7B9B7ED}"/>
          </ac:spMkLst>
        </pc:spChg>
        <pc:spChg chg="mod">
          <ac:chgData name="Izabela Kielichowska" userId="8db4eba2-3fdf-477a-8783-895caa6eca96" providerId="ADAL" clId="{FBA06D0D-45E9-4F16-A0C4-F09D044674E0}" dt="2020-10-05T13:56:01.373" v="505" actId="255"/>
          <ac:spMkLst>
            <pc:docMk/>
            <pc:sldMk cId="126684070" sldId="319"/>
            <ac:spMk id="12" creationId="{06C47BBB-E19F-4156-9285-36FD095B2939}"/>
          </ac:spMkLst>
        </pc:spChg>
        <pc:spChg chg="mod">
          <ac:chgData name="Izabela Kielichowska" userId="8db4eba2-3fdf-477a-8783-895caa6eca96" providerId="ADAL" clId="{FBA06D0D-45E9-4F16-A0C4-F09D044674E0}" dt="2020-10-05T13:56:13.606" v="534" actId="20577"/>
          <ac:spMkLst>
            <pc:docMk/>
            <pc:sldMk cId="126684070" sldId="319"/>
            <ac:spMk id="13" creationId="{7419B178-2BD1-4FD0-8F93-6D6895DACAB9}"/>
          </ac:spMkLst>
        </pc:spChg>
        <pc:spChg chg="mod">
          <ac:chgData name="Izabela Kielichowska" userId="8db4eba2-3fdf-477a-8783-895caa6eca96" providerId="ADAL" clId="{FBA06D0D-45E9-4F16-A0C4-F09D044674E0}" dt="2020-10-05T13:56:01.373" v="505" actId="255"/>
          <ac:spMkLst>
            <pc:docMk/>
            <pc:sldMk cId="126684070" sldId="319"/>
            <ac:spMk id="14" creationId="{DB35685E-D425-41A2-AD0A-55AC023F7BD6}"/>
          </ac:spMkLst>
        </pc:spChg>
        <pc:spChg chg="mod">
          <ac:chgData name="Izabela Kielichowska" userId="8db4eba2-3fdf-477a-8783-895caa6eca96" providerId="ADAL" clId="{FBA06D0D-45E9-4F16-A0C4-F09D044674E0}" dt="2020-10-05T14:28:27.343" v="2031" actId="20577"/>
          <ac:spMkLst>
            <pc:docMk/>
            <pc:sldMk cId="126684070" sldId="319"/>
            <ac:spMk id="15" creationId="{A22AC402-CDC4-4E16-83CC-A51321DFFC09}"/>
          </ac:spMkLst>
        </pc:spChg>
        <pc:spChg chg="mod">
          <ac:chgData name="Izabela Kielichowska" userId="8db4eba2-3fdf-477a-8783-895caa6eca96" providerId="ADAL" clId="{FBA06D0D-45E9-4F16-A0C4-F09D044674E0}" dt="2020-10-05T13:56:07.488" v="520" actId="20577"/>
          <ac:spMkLst>
            <pc:docMk/>
            <pc:sldMk cId="126684070" sldId="319"/>
            <ac:spMk id="16" creationId="{79D0FAA3-0B85-43FB-B3A3-4EC73D462414}"/>
          </ac:spMkLst>
        </pc:spChg>
        <pc:spChg chg="mod">
          <ac:chgData name="Izabela Kielichowska" userId="8db4eba2-3fdf-477a-8783-895caa6eca96" providerId="ADAL" clId="{FBA06D0D-45E9-4F16-A0C4-F09D044674E0}" dt="2020-10-05T13:56:01.373" v="505" actId="255"/>
          <ac:spMkLst>
            <pc:docMk/>
            <pc:sldMk cId="126684070" sldId="319"/>
            <ac:spMk id="17" creationId="{F00BC368-96D9-4FA4-A86C-1203C7445E4B}"/>
          </ac:spMkLst>
        </pc:spChg>
        <pc:spChg chg="mod">
          <ac:chgData name="Izabela Kielichowska" userId="8db4eba2-3fdf-477a-8783-895caa6eca96" providerId="ADAL" clId="{FBA06D0D-45E9-4F16-A0C4-F09D044674E0}" dt="2020-10-05T13:56:01.373" v="505" actId="255"/>
          <ac:spMkLst>
            <pc:docMk/>
            <pc:sldMk cId="126684070" sldId="319"/>
            <ac:spMk id="18" creationId="{F4E1E22C-CD48-4CD1-A946-975BE90FB86C}"/>
          </ac:spMkLst>
        </pc:spChg>
        <pc:spChg chg="mod">
          <ac:chgData name="Izabela Kielichowska" userId="8db4eba2-3fdf-477a-8783-895caa6eca96" providerId="ADAL" clId="{FBA06D0D-45E9-4F16-A0C4-F09D044674E0}" dt="2020-10-05T13:56:40.510" v="622" actId="20577"/>
          <ac:spMkLst>
            <pc:docMk/>
            <pc:sldMk cId="126684070" sldId="319"/>
            <ac:spMk id="19" creationId="{ADB9D9EE-FB7F-4645-8FD7-FE620F2AB27C}"/>
          </ac:spMkLst>
        </pc:spChg>
        <pc:spChg chg="mod">
          <ac:chgData name="Izabela Kielichowska" userId="8db4eba2-3fdf-477a-8783-895caa6eca96" providerId="ADAL" clId="{FBA06D0D-45E9-4F16-A0C4-F09D044674E0}" dt="2020-10-05T13:56:01.373" v="505" actId="255"/>
          <ac:spMkLst>
            <pc:docMk/>
            <pc:sldMk cId="126684070" sldId="319"/>
            <ac:spMk id="25" creationId="{A37BA22B-CEA0-4207-927F-ED36F72D774E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b="1" dirty="0"/>
              <a:t>Prognozowany</a:t>
            </a:r>
            <a:r>
              <a:rPr lang="pl-PL" b="1" baseline="0" dirty="0"/>
              <a:t> udział OZE w Polsce w 203</a:t>
            </a:r>
            <a:r>
              <a:rPr lang="en-GB" b="1" dirty="0"/>
              <a:t>0 </a:t>
            </a:r>
            <a:r>
              <a:rPr lang="pl-PL" b="1" dirty="0"/>
              <a:t>[</a:t>
            </a:r>
            <a:r>
              <a:rPr lang="en-GB" b="1" dirty="0"/>
              <a:t>%</a:t>
            </a:r>
            <a:r>
              <a:rPr lang="pl-PL" b="1" dirty="0"/>
              <a:t>]</a:t>
            </a:r>
            <a:endParaRPr lang="en-GB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IRENA Targets'!$C$3:$C$7</c:f>
              <c:strCache>
                <c:ptCount val="5"/>
                <c:pt idx="0">
                  <c:v>Przemysł i rolnictwo</c:v>
                </c:pt>
                <c:pt idx="1">
                  <c:v>Budownictwo</c:v>
                </c:pt>
                <c:pt idx="2">
                  <c:v>Transport</c:v>
                </c:pt>
                <c:pt idx="3">
                  <c:v>Energia elektryczna</c:v>
                </c:pt>
                <c:pt idx="4">
                  <c:v>Ciepło</c:v>
                </c:pt>
              </c:strCache>
            </c:strRef>
          </c:cat>
          <c:val>
            <c:numRef>
              <c:f>'IRENA Targets'!$D$3:$D$7</c:f>
              <c:numCache>
                <c:formatCode>General</c:formatCode>
                <c:ptCount val="5"/>
                <c:pt idx="0">
                  <c:v>25.3</c:v>
                </c:pt>
                <c:pt idx="1">
                  <c:v>34.799999999999997</c:v>
                </c:pt>
                <c:pt idx="2">
                  <c:v>11.9</c:v>
                </c:pt>
                <c:pt idx="3">
                  <c:v>37.700000000000003</c:v>
                </c:pt>
                <c:pt idx="4">
                  <c:v>2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2C-48B1-9BD1-2E27C3BE02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65025391"/>
        <c:axId val="1256548543"/>
      </c:barChart>
      <c:catAx>
        <c:axId val="126502539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6548543"/>
        <c:crosses val="autoZero"/>
        <c:auto val="1"/>
        <c:lblAlgn val="ctr"/>
        <c:lblOffset val="100"/>
        <c:noMultiLvlLbl val="0"/>
      </c:catAx>
      <c:valAx>
        <c:axId val="125654854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6502539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pl-PL" sz="1800" b="1" dirty="0"/>
              <a:t>Przeciętna</a:t>
            </a:r>
            <a:r>
              <a:rPr lang="pl-PL" sz="1800" b="1" baseline="0" dirty="0"/>
              <a:t> ilość miejsc pracy </a:t>
            </a:r>
          </a:p>
          <a:p>
            <a:pPr>
              <a:defRPr/>
            </a:pPr>
            <a:r>
              <a:rPr lang="pl-PL" sz="1800" b="1" baseline="0" dirty="0"/>
              <a:t>na 1 </a:t>
            </a:r>
            <a:r>
              <a:rPr lang="en-GB" sz="1800" b="1" baseline="0" dirty="0"/>
              <a:t>MW</a:t>
            </a:r>
            <a:r>
              <a:rPr lang="pl-PL" sz="1800" b="1" baseline="0" dirty="0"/>
              <a:t> mocy zainstalowanej w danym źródle energii</a:t>
            </a:r>
            <a:endParaRPr lang="en-GB" sz="1800" b="1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D$2</c:f>
              <c:strCache>
                <c:ptCount val="1"/>
                <c:pt idx="0">
                  <c:v>Produkcja urządzeń, budowa i instalacj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C$3:$C$7</c:f>
              <c:strCache>
                <c:ptCount val="5"/>
                <c:pt idx="0">
                  <c:v>Fotowoltaika</c:v>
                </c:pt>
                <c:pt idx="1">
                  <c:v>Wiatr</c:v>
                </c:pt>
                <c:pt idx="2">
                  <c:v>Biomasa</c:v>
                </c:pt>
                <c:pt idx="3">
                  <c:v>Węgiel</c:v>
                </c:pt>
                <c:pt idx="4">
                  <c:v>Gaz</c:v>
                </c:pt>
              </c:strCache>
            </c:strRef>
          </c:cat>
          <c:val>
            <c:numRef>
              <c:f>Sheet1!$D$3:$D$7</c:f>
              <c:numCache>
                <c:formatCode>General</c:formatCode>
                <c:ptCount val="5"/>
                <c:pt idx="0">
                  <c:v>6.21</c:v>
                </c:pt>
                <c:pt idx="1">
                  <c:v>2.5099999999999998</c:v>
                </c:pt>
                <c:pt idx="2">
                  <c:v>0.4</c:v>
                </c:pt>
                <c:pt idx="3">
                  <c:v>0.27</c:v>
                </c:pt>
                <c:pt idx="4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B9-4332-8BC8-D755BB16D13F}"/>
            </c:ext>
          </c:extLst>
        </c:ser>
        <c:ser>
          <c:idx val="1"/>
          <c:order val="1"/>
          <c:tx>
            <c:strRef>
              <c:f>Sheet1!$E$2</c:f>
              <c:strCache>
                <c:ptCount val="1"/>
                <c:pt idx="0">
                  <c:v>Obsługa, remonty i produkcja paliw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C$3:$C$7</c:f>
              <c:strCache>
                <c:ptCount val="5"/>
                <c:pt idx="0">
                  <c:v>Fotowoltaika</c:v>
                </c:pt>
                <c:pt idx="1">
                  <c:v>Wiatr</c:v>
                </c:pt>
                <c:pt idx="2">
                  <c:v>Biomasa</c:v>
                </c:pt>
                <c:pt idx="3">
                  <c:v>Węgiel</c:v>
                </c:pt>
                <c:pt idx="4">
                  <c:v>Gaz</c:v>
                </c:pt>
              </c:strCache>
            </c:strRef>
          </c:cat>
          <c:val>
            <c:numRef>
              <c:f>Sheet1!$E$3:$E$7</c:f>
              <c:numCache>
                <c:formatCode>General</c:formatCode>
                <c:ptCount val="5"/>
                <c:pt idx="0">
                  <c:v>4.8</c:v>
                </c:pt>
                <c:pt idx="1">
                  <c:v>0.27</c:v>
                </c:pt>
                <c:pt idx="2">
                  <c:v>2.44</c:v>
                </c:pt>
                <c:pt idx="3">
                  <c:v>1.01</c:v>
                </c:pt>
                <c:pt idx="4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0B9-4332-8BC8-D755BB16D13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88880911"/>
        <c:axId val="1045932463"/>
      </c:barChart>
      <c:catAx>
        <c:axId val="11888809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45932463"/>
        <c:crosses val="autoZero"/>
        <c:auto val="1"/>
        <c:lblAlgn val="ctr"/>
        <c:lblOffset val="100"/>
        <c:noMultiLvlLbl val="0"/>
      </c:catAx>
      <c:valAx>
        <c:axId val="104593246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88809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E6B232A-A90B-0843-9FE3-CD41AEF1F4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6EF4F6-6352-EF49-8B94-F88281AD3C0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63FA1003-23F1-F848-ABD7-AA279ACD1B1C}" type="datetimeFigureOut">
              <a:rPr lang="en-US" smtClean="0"/>
              <a:t>10/5/2020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F22398-7E15-714C-85A0-DACC6DC3F11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F1B2665-97EF-CE47-ABE4-18D4D76C98D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DDAB60F0-68D7-274B-9B3A-8BD634CF561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6413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6768" y="0"/>
            <a:ext cx="3011699" cy="463408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F1F6C0D1-008B-C245-AF1E-F6ADA8BEAF3C}" type="datetimeFigureOut">
              <a:rPr lang="en-US" smtClean="0"/>
              <a:t>10/5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3263" y="1154113"/>
            <a:ext cx="5543550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92" tIns="46246" rIns="92492" bIns="46246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008" y="4444861"/>
            <a:ext cx="5560060" cy="363670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6768" y="8772669"/>
            <a:ext cx="3011699" cy="463407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91CB8535-DC0F-AF47-A510-8461A80C06B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81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82880" indent="-182880" algn="l" defTabSz="914400" rtl="0" eaLnBrk="1" latinLnBrk="0" hangingPunct="1"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5760" indent="-18288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8640" indent="-18288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31520" indent="-18288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914400" indent="-18288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1097280" indent="-18288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1280160" indent="-18288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1463040" indent="-18288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1645920" indent="-182880" algn="l" defTabSz="914400" rtl="0" eaLnBrk="1" latinLnBrk="0" hangingPunct="1"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CB8535-DC0F-AF47-A510-8461A80C06B7}" type="slidenum">
              <a:rPr lang="en-US" smtClean="0"/>
              <a:t>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73775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Shapes">
            <a:extLst>
              <a:ext uri="{FF2B5EF4-FFF2-40B4-BE49-F238E27FC236}">
                <a16:creationId xmlns:a16="http://schemas.microsoft.com/office/drawing/2014/main" id="{BAEB401E-5143-6042-9787-A0BD49D949C4}"/>
              </a:ext>
            </a:extLst>
          </p:cNvPr>
          <p:cNvGrpSpPr/>
          <p:nvPr userDrawn="1"/>
        </p:nvGrpSpPr>
        <p:grpSpPr>
          <a:xfrm>
            <a:off x="4484721" y="456312"/>
            <a:ext cx="7250555" cy="5944426"/>
            <a:chOff x="4484721" y="456312"/>
            <a:chExt cx="7250555" cy="5944426"/>
          </a:xfrm>
        </p:grpSpPr>
        <p:sp>
          <p:nvSpPr>
            <p:cNvPr id="10" name="Shape 1">
              <a:extLst>
                <a:ext uri="{FF2B5EF4-FFF2-40B4-BE49-F238E27FC236}">
                  <a16:creationId xmlns:a16="http://schemas.microsoft.com/office/drawing/2014/main" id="{DE3424D6-78F7-4144-A1E8-D56118CB908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 noEditPoints="1"/>
            </p:cNvSpPr>
            <p:nvPr userDrawn="1"/>
          </p:nvSpPr>
          <p:spPr bwMode="hidden">
            <a:xfrm>
              <a:off x="7707222" y="456567"/>
              <a:ext cx="4028054" cy="2896340"/>
            </a:xfrm>
            <a:custGeom>
              <a:avLst/>
              <a:gdLst>
                <a:gd name="T0" fmla="*/ 4228 w 4228"/>
                <a:gd name="T1" fmla="*/ 2080 h 3040"/>
                <a:gd name="T2" fmla="*/ 4228 w 4228"/>
                <a:gd name="T3" fmla="*/ 2080 h 3040"/>
                <a:gd name="T4" fmla="*/ 0 w 4228"/>
                <a:gd name="T5" fmla="*/ 0 h 3040"/>
                <a:gd name="T6" fmla="*/ 2472 w 4228"/>
                <a:gd name="T7" fmla="*/ 3040 h 3040"/>
                <a:gd name="T8" fmla="*/ 4228 w 4228"/>
                <a:gd name="T9" fmla="*/ 2080 h 3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8" h="3040">
                  <a:moveTo>
                    <a:pt x="4228" y="2080"/>
                  </a:moveTo>
                  <a:lnTo>
                    <a:pt x="4228" y="2080"/>
                  </a:lnTo>
                  <a:lnTo>
                    <a:pt x="0" y="0"/>
                  </a:lnTo>
                  <a:lnTo>
                    <a:pt x="2472" y="3040"/>
                  </a:lnTo>
                  <a:lnTo>
                    <a:pt x="4228" y="2080"/>
                  </a:lnTo>
                  <a:close/>
                </a:path>
              </a:pathLst>
            </a:custGeom>
            <a:solidFill>
              <a:srgbClr val="C3EC0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Shape 2">
              <a:extLst>
                <a:ext uri="{FF2B5EF4-FFF2-40B4-BE49-F238E27FC236}">
                  <a16:creationId xmlns:a16="http://schemas.microsoft.com/office/drawing/2014/main" id="{686489CF-E6D3-426A-A240-1655E80B023F}"/>
                </a:ext>
              </a:extLst>
            </p:cNvPr>
            <p:cNvSpPr>
              <a:spLocks noChangeAspect="1" noEditPoints="1"/>
            </p:cNvSpPr>
            <p:nvPr userDrawn="1"/>
          </p:nvSpPr>
          <p:spPr bwMode="hidden">
            <a:xfrm>
              <a:off x="4484721" y="456312"/>
              <a:ext cx="7250043" cy="5944426"/>
            </a:xfrm>
            <a:custGeom>
              <a:avLst/>
              <a:gdLst>
                <a:gd name="connsiteX0" fmla="*/ 3222559 w 7250043"/>
                <a:gd name="connsiteY0" fmla="*/ 0 h 5944426"/>
                <a:gd name="connsiteX1" fmla="*/ 7250043 w 7250043"/>
                <a:gd name="connsiteY1" fmla="*/ 4953688 h 5944426"/>
                <a:gd name="connsiteX2" fmla="*/ 0 w 7250043"/>
                <a:gd name="connsiteY2" fmla="*/ 5944426 h 594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50043" h="5944426">
                  <a:moveTo>
                    <a:pt x="3222559" y="0"/>
                  </a:moveTo>
                  <a:lnTo>
                    <a:pt x="7250043" y="4953688"/>
                  </a:lnTo>
                  <a:lnTo>
                    <a:pt x="0" y="5944426"/>
                  </a:lnTo>
                  <a:close/>
                </a:path>
              </a:pathLst>
            </a:custGeom>
            <a:solidFill>
              <a:srgbClr val="93D500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100000"/>
                </a:lnSpc>
              </a:pPr>
              <a:endParaRPr lang="en-US" sz="1800" dirty="0"/>
            </a:p>
          </p:txBody>
        </p:sp>
      </p:grpSp>
      <p:pic>
        <p:nvPicPr>
          <p:cNvPr id="4" name="Guidehouse Logo" descr="Guidehouse">
            <a:extLst>
              <a:ext uri="{FF2B5EF4-FFF2-40B4-BE49-F238E27FC236}">
                <a16:creationId xmlns:a16="http://schemas.microsoft.com/office/drawing/2014/main" id="{FA2772B8-B63F-594C-AD84-89D9237E07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231775" y="229237"/>
            <a:ext cx="2547112" cy="9814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1736725"/>
            <a:ext cx="5486400" cy="2057400"/>
          </a:xfrm>
          <a:prstGeom prst="rect">
            <a:avLst/>
          </a:prstGeom>
        </p:spPr>
        <p:txBody>
          <a:bodyPr anchor="b"/>
          <a:lstStyle>
            <a:lvl1pPr algn="l">
              <a:defRPr sz="4800" spc="-10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4023360"/>
            <a:ext cx="5486400" cy="118993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0" indent="0" algn="l">
              <a:spcBef>
                <a:spcPts val="0"/>
              </a:spcBef>
              <a:buNone/>
              <a:defRPr sz="1800"/>
            </a:lvl2pPr>
            <a:lvl3pPr marL="0" indent="0" algn="l">
              <a:spcBef>
                <a:spcPts val="0"/>
              </a:spcBef>
              <a:buNone/>
              <a:defRPr sz="1800"/>
            </a:lvl3pPr>
            <a:lvl4pPr marL="0" indent="0" algn="l">
              <a:spcBef>
                <a:spcPts val="0"/>
              </a:spcBef>
              <a:buNone/>
              <a:defRPr sz="1800"/>
            </a:lvl4pPr>
            <a:lvl5pPr marL="0" indent="0" algn="l">
              <a:spcBef>
                <a:spcPts val="0"/>
              </a:spcBef>
              <a:buNone/>
              <a:defRPr sz="1800"/>
            </a:lvl5pPr>
            <a:lvl6pPr marL="0" indent="0" algn="l">
              <a:spcBef>
                <a:spcPts val="0"/>
              </a:spcBef>
              <a:buNone/>
              <a:defRPr sz="1800"/>
            </a:lvl6pPr>
            <a:lvl7pPr marL="0" indent="0" algn="l">
              <a:spcBef>
                <a:spcPts val="0"/>
              </a:spcBef>
              <a:buNone/>
              <a:defRPr sz="1800"/>
            </a:lvl7pPr>
            <a:lvl8pPr marL="0" indent="0" algn="l">
              <a:spcBef>
                <a:spcPts val="0"/>
              </a:spcBef>
              <a:buNone/>
              <a:defRPr sz="1800"/>
            </a:lvl8pPr>
            <a:lvl9pPr marL="0" indent="0" algn="l">
              <a:spcBef>
                <a:spcPts val="0"/>
              </a:spcBef>
              <a:buNone/>
              <a:defRPr sz="1800"/>
            </a:lvl9pPr>
          </a:lstStyle>
          <a:p>
            <a:r>
              <a:rPr lang="en-US" dirty="0"/>
              <a:t>[Optional presentation subtitle]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C800EA8-6366-7F4C-B7F3-6DF82E49859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0" y="5815907"/>
            <a:ext cx="5486400" cy="638868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dirty="0"/>
              <a:t>[Month 00, 0000]</a:t>
            </a:r>
          </a:p>
        </p:txBody>
      </p:sp>
    </p:spTree>
    <p:extLst>
      <p:ext uri="{BB962C8B-B14F-4D97-AF65-F5344CB8AC3E}">
        <p14:creationId xmlns:p14="http://schemas.microsoft.com/office/powerpoint/2010/main" val="1286001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744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736724"/>
            <a:ext cx="3566160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7840" y="1736724"/>
            <a:ext cx="7426960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E12D609D-CB43-4030-9F21-FB1F019611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8FE4D279-9FF6-465F-A1F3-24712FB277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0649"/>
            <a:ext cx="11277600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9CCC3E1D-FAA2-477B-A472-1224944998AA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oundRect">
            <a:avLst/>
          </a:prstGeom>
          <a:solidFill>
            <a:srgbClr val="93D5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292031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2536">
          <p15:clr>
            <a:srgbClr val="FBAE40"/>
          </p15:clr>
        </p15:guide>
        <p15:guide id="3" orient="horz" pos="1094" userDrawn="1">
          <p15:clr>
            <a:srgbClr val="FBAE40"/>
          </p15:clr>
        </p15:guide>
        <p15:guide id="4" orient="horz" pos="383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736724"/>
            <a:ext cx="7416800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168640" y="1736724"/>
            <a:ext cx="3566160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0BA6ED04-B19D-4CD6-92C3-FE8252A1B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1D3DADB-D600-4CB9-B978-152D39EEFB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0649"/>
            <a:ext cx="11277600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FD040EDA-20A3-49E5-ABB6-FD2C6D37A0C9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oundRect">
            <a:avLst/>
          </a:prstGeom>
          <a:solidFill>
            <a:srgbClr val="93D5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765738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3" pos="4960">
          <p15:clr>
            <a:srgbClr val="FBAE40"/>
          </p15:clr>
        </p15:guide>
        <p15:guide id="4" pos="5144">
          <p15:clr>
            <a:srgbClr val="FBAE40"/>
          </p15:clr>
        </p15:guide>
        <p15:guide id="5" orient="horz" pos="3830" userDrawn="1">
          <p15:clr>
            <a:srgbClr val="FBAE40"/>
          </p15:clr>
        </p15:guide>
        <p15:guide id="6" orient="horz" pos="1094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Gra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736726"/>
            <a:ext cx="5367528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70320" y="1736726"/>
            <a:ext cx="5364480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B0B992BE-191C-449F-A003-42B41DC8D9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5368925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124FCF3-5301-43C2-9B37-9FDB2C7253A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0650"/>
            <a:ext cx="5368925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8F242A52-192A-49C3-A81C-45471B0065A8}"/>
              </a:ext>
            </a:extLst>
          </p:cNvPr>
          <p:cNvSpPr/>
          <p:nvPr userDrawn="1"/>
        </p:nvSpPr>
        <p:spPr>
          <a:xfrm>
            <a:off x="0" y="2"/>
            <a:ext cx="12192000" cy="45719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3760211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15">
          <p15:clr>
            <a:srgbClr val="FBAE40"/>
          </p15:clr>
        </p15:guide>
        <p15:guide id="2" pos="4280">
          <p15:clr>
            <a:srgbClr val="FBAE40"/>
          </p15:clr>
        </p15:guide>
        <p15:guide id="3" pos="4096">
          <p15:clr>
            <a:srgbClr val="FBAE40"/>
          </p15:clr>
        </p15:guide>
        <p15:guide id="4" orient="horz" pos="1167">
          <p15:clr>
            <a:srgbClr val="FBAE40"/>
          </p15:clr>
        </p15:guide>
        <p15:guide id="5" orient="horz" pos="4085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6CBCE331-57A3-4230-A81D-81129BE1E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9728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14222E3E-B94B-461E-A61C-2C0AEB1F97B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85593" y="1911044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FFE35AE-F89E-4258-A173-22766583DC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490289" y="2985785"/>
            <a:ext cx="1578161" cy="623887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9BD1B296-8E1C-4118-A516-849A0D34711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33097" y="1911044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87D8A3D-3CF9-41E7-ADE7-3EDAA46975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37793" y="2985785"/>
            <a:ext cx="1578161" cy="623887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3A600F9-8DF8-425A-B2BE-75F6FB5A48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428106" y="1911044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77D696E-F426-4673-8AED-4BD63D190B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32802" y="2985785"/>
            <a:ext cx="1578161" cy="623887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2BC55B6-E1F3-4B85-940F-FC92F777AE0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880601" y="1911044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511293A-3A49-4598-86DC-791DBEBF84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85297" y="2985785"/>
            <a:ext cx="1578161" cy="623887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DB4304B6-1493-4FDB-9B56-5EECF5A2232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785593" y="3927169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4A6B711-3666-4885-8411-8109BBBC252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490289" y="5001910"/>
            <a:ext cx="1578161" cy="623887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1A216927-FE5A-4573-962B-04BA416DC74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33097" y="3927169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241915FB-E802-40FA-9321-B1D2F215749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37793" y="5001910"/>
            <a:ext cx="1578161" cy="623887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588FDFD5-5C0B-4914-BEA0-990D01D6056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428106" y="3927169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2E14E61-3FA0-4BB6-AF8B-F6C2306880D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32802" y="5001910"/>
            <a:ext cx="1578161" cy="623887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A785DB89-2F87-4329-A0FD-6F02E7D14CA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880601" y="3927169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953A3F03-EE6B-41C9-92E0-D04F1D33FEB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585297" y="5001910"/>
            <a:ext cx="1578161" cy="623887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22BB126-4974-41D3-8E3B-662812903A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0649"/>
            <a:ext cx="11277600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506A592-56BA-4447-9625-269DC83DDA19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1048259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037">
          <p15:clr>
            <a:srgbClr val="FBAE40"/>
          </p15:clr>
        </p15:guide>
        <p15:guide id="2" orient="horz" pos="383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hotos + B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6CBCE331-57A3-4230-A81D-81129BE1E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9728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14222E3E-B94B-461E-A61C-2C0AEB1F97B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46058" y="1911044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6FFE35AE-F89E-4258-A173-22766583DC6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0754" y="2985786"/>
            <a:ext cx="1578161" cy="594196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9BD1B296-8E1C-4118-A516-849A0D34711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174141" y="1911044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C87D8A3D-3CF9-41E7-ADE7-3EDAA469752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878837" y="2985785"/>
            <a:ext cx="1578161" cy="594193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F3A600F9-8DF8-425A-B2BE-75F6FB5A484B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030306" y="1911044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77D696E-F426-4673-8AED-4BD63D190BF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35002" y="2985785"/>
            <a:ext cx="1578161" cy="594183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2BC55B6-E1F3-4B85-940F-FC92F777AE0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5602224" y="1911044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5511293A-3A49-4598-86DC-791DBEBF84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306920" y="2985785"/>
            <a:ext cx="1578161" cy="594189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588FDFD5-5C0B-4914-BEA0-990D01D6056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0458390" y="1911044"/>
            <a:ext cx="987552" cy="990568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 algn="ctr">
              <a:buFontTx/>
              <a:buNone/>
              <a:defRPr sz="1050" b="1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2E14E61-3FA0-4BB6-AF8B-F6C2306880D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163086" y="2985785"/>
            <a:ext cx="1578161" cy="594177"/>
          </a:xfrm>
        </p:spPr>
        <p:txBody>
          <a:bodyPr>
            <a:noAutofit/>
          </a:bodyPr>
          <a:lstStyle>
            <a:lvl1pPr marL="0" indent="0" algn="ctr">
              <a:spcBef>
                <a:spcPts val="400"/>
              </a:spcBef>
              <a:buFontTx/>
              <a:buNone/>
              <a:defRPr sz="12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22BB126-4974-41D3-8E3B-662812903A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0649"/>
            <a:ext cx="11277600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506A592-56BA-4447-9625-269DC83DDA19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54A0C01D-13B1-45CF-9553-C85D292BB09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50754" y="3784712"/>
            <a:ext cx="1578161" cy="2010019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6">
            <a:extLst>
              <a:ext uri="{FF2B5EF4-FFF2-40B4-BE49-F238E27FC236}">
                <a16:creationId xmlns:a16="http://schemas.microsoft.com/office/drawing/2014/main" id="{539AA3B8-D3C5-4E08-8E6A-E4FCB23E904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2878837" y="3784711"/>
            <a:ext cx="1578161" cy="2010019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26">
            <a:extLst>
              <a:ext uri="{FF2B5EF4-FFF2-40B4-BE49-F238E27FC236}">
                <a16:creationId xmlns:a16="http://schemas.microsoft.com/office/drawing/2014/main" id="{B234DD56-AAB6-419E-BD8C-EB67CA8061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306919" y="3784712"/>
            <a:ext cx="1578161" cy="2010019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26">
            <a:extLst>
              <a:ext uri="{FF2B5EF4-FFF2-40B4-BE49-F238E27FC236}">
                <a16:creationId xmlns:a16="http://schemas.microsoft.com/office/drawing/2014/main" id="{CE8F1192-0940-47CD-AA6E-A62E0723C33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7735002" y="3784711"/>
            <a:ext cx="1578161" cy="2010019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6">
            <a:extLst>
              <a:ext uri="{FF2B5EF4-FFF2-40B4-BE49-F238E27FC236}">
                <a16:creationId xmlns:a16="http://schemas.microsoft.com/office/drawing/2014/main" id="{5FF39A0F-1B2D-4234-B1E4-3ED377DE382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0163085" y="3784711"/>
            <a:ext cx="1578161" cy="2010019"/>
          </a:xfrm>
        </p:spPr>
        <p:txBody>
          <a:bodyPr/>
          <a:lstStyle>
            <a:lvl1pPr>
              <a:defRPr sz="1200"/>
            </a:lvl1pPr>
            <a:lvl2pPr>
              <a:defRPr sz="1100"/>
            </a:lvl2pPr>
            <a:lvl3pPr>
              <a:defRPr sz="900"/>
            </a:lvl3pPr>
            <a:lvl4pPr>
              <a:defRPr sz="10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77253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037">
          <p15:clr>
            <a:srgbClr val="FBAE40"/>
          </p15:clr>
        </p15:guide>
        <p15:guide id="2" orient="horz" pos="383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">
            <a:extLst>
              <a:ext uri="{FF2B5EF4-FFF2-40B4-BE49-F238E27FC236}">
                <a16:creationId xmlns:a16="http://schemas.microsoft.com/office/drawing/2014/main" id="{F5DB0730-FEF7-4459-8C92-F2509C2704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0" y="0"/>
            <a:ext cx="12192000" cy="6858000"/>
          </a:xfrm>
          <a:custGeom>
            <a:avLst/>
            <a:gdLst>
              <a:gd name="T0" fmla="*/ 6400 w 12800"/>
              <a:gd name="T1" fmla="*/ 0 h 7199"/>
              <a:gd name="T2" fmla="*/ 6400 w 12800"/>
              <a:gd name="T3" fmla="*/ 0 h 7199"/>
              <a:gd name="T4" fmla="*/ 0 w 12800"/>
              <a:gd name="T5" fmla="*/ 4799 h 7199"/>
              <a:gd name="T6" fmla="*/ 12800 w 12800"/>
              <a:gd name="T7" fmla="*/ 7199 h 7199"/>
              <a:gd name="T8" fmla="*/ 6400 w 12800"/>
              <a:gd name="T9" fmla="*/ 0 h 71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2800" h="7199">
                <a:moveTo>
                  <a:pt x="6400" y="0"/>
                </a:moveTo>
                <a:lnTo>
                  <a:pt x="6400" y="0"/>
                </a:lnTo>
                <a:lnTo>
                  <a:pt x="0" y="4799"/>
                </a:lnTo>
                <a:lnTo>
                  <a:pt x="12800" y="7199"/>
                </a:lnTo>
                <a:lnTo>
                  <a:pt x="6400" y="0"/>
                </a:lnTo>
                <a:close/>
              </a:path>
            </a:pathLst>
          </a:custGeom>
          <a:solidFill>
            <a:srgbClr val="93D5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457200" y="374648"/>
            <a:ext cx="5486400" cy="3429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defRPr sz="4800" spc="-10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ABF22C5-C926-47E4-8AEB-0FD4F7EE35B6}"/>
              </a:ext>
            </a:extLst>
          </p:cNvPr>
          <p:cNvSpPr/>
          <p:nvPr userDrawn="1"/>
        </p:nvSpPr>
        <p:spPr>
          <a:xfrm>
            <a:off x="4936446" y="6212344"/>
            <a:ext cx="2508150" cy="353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23613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374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/ Photo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6D909696-C6A9-41E3-A0F4-B0DFAA159D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hidden">
          <a:xfrm>
            <a:off x="454342" y="453422"/>
            <a:ext cx="11301332" cy="5804491"/>
          </a:xfrm>
          <a:custGeom>
            <a:avLst/>
            <a:gdLst>
              <a:gd name="connsiteX0" fmla="*/ 8708435 w 8708435"/>
              <a:gd name="connsiteY0" fmla="*/ 0 h 6858000"/>
              <a:gd name="connsiteX1" fmla="*/ 8708435 w 8708435"/>
              <a:gd name="connsiteY1" fmla="*/ 6858000 h 6858000"/>
              <a:gd name="connsiteX2" fmla="*/ 0 w 8708435"/>
              <a:gd name="connsiteY2" fmla="*/ 6858000 h 6858000"/>
              <a:gd name="connsiteX0" fmla="*/ 817685 w 9706923"/>
              <a:gd name="connsiteY0" fmla="*/ 0 h 6404578"/>
              <a:gd name="connsiteX1" fmla="*/ 9706923 w 9706923"/>
              <a:gd name="connsiteY1" fmla="*/ 6404578 h 6404578"/>
              <a:gd name="connsiteX2" fmla="*/ 998488 w 9706923"/>
              <a:gd name="connsiteY2" fmla="*/ 6404578 h 6404578"/>
              <a:gd name="connsiteX3" fmla="*/ 817685 w 9706923"/>
              <a:gd name="connsiteY3" fmla="*/ 0 h 6404578"/>
              <a:gd name="connsiteX0" fmla="*/ 7458605 w 16347843"/>
              <a:gd name="connsiteY0" fmla="*/ 0 h 6404578"/>
              <a:gd name="connsiteX1" fmla="*/ 16347843 w 16347843"/>
              <a:gd name="connsiteY1" fmla="*/ 6404578 h 6404578"/>
              <a:gd name="connsiteX2" fmla="*/ 0 w 16347843"/>
              <a:gd name="connsiteY2" fmla="*/ 4054344 h 6404578"/>
              <a:gd name="connsiteX3" fmla="*/ 7458605 w 16347843"/>
              <a:gd name="connsiteY3" fmla="*/ 0 h 6404578"/>
              <a:gd name="connsiteX0" fmla="*/ 7683676 w 16572914"/>
              <a:gd name="connsiteY0" fmla="*/ 31432 h 6574611"/>
              <a:gd name="connsiteX1" fmla="*/ 16572914 w 16572914"/>
              <a:gd name="connsiteY1" fmla="*/ 6436010 h 6574611"/>
              <a:gd name="connsiteX2" fmla="*/ 225071 w 16572914"/>
              <a:gd name="connsiteY2" fmla="*/ 4085776 h 6574611"/>
              <a:gd name="connsiteX3" fmla="*/ 7683676 w 16572914"/>
              <a:gd name="connsiteY3" fmla="*/ 31432 h 6574611"/>
              <a:gd name="connsiteX0" fmla="*/ 7683676 w 16572914"/>
              <a:gd name="connsiteY0" fmla="*/ 31432 h 6580388"/>
              <a:gd name="connsiteX1" fmla="*/ 16572914 w 16572914"/>
              <a:gd name="connsiteY1" fmla="*/ 6436010 h 6580388"/>
              <a:gd name="connsiteX2" fmla="*/ 225071 w 16572914"/>
              <a:gd name="connsiteY2" fmla="*/ 4085776 h 6580388"/>
              <a:gd name="connsiteX3" fmla="*/ 7683676 w 16572914"/>
              <a:gd name="connsiteY3" fmla="*/ 31432 h 6580388"/>
              <a:gd name="connsiteX0" fmla="*/ 7458605 w 16347843"/>
              <a:gd name="connsiteY0" fmla="*/ 24413 h 6573369"/>
              <a:gd name="connsiteX1" fmla="*/ 16347843 w 16347843"/>
              <a:gd name="connsiteY1" fmla="*/ 6428991 h 6573369"/>
              <a:gd name="connsiteX2" fmla="*/ 0 w 16347843"/>
              <a:gd name="connsiteY2" fmla="*/ 4078757 h 6573369"/>
              <a:gd name="connsiteX3" fmla="*/ 7458605 w 16347843"/>
              <a:gd name="connsiteY3" fmla="*/ 24413 h 6573369"/>
              <a:gd name="connsiteX0" fmla="*/ 7458605 w 16347843"/>
              <a:gd name="connsiteY0" fmla="*/ 24413 h 6527490"/>
              <a:gd name="connsiteX1" fmla="*/ 16347843 w 16347843"/>
              <a:gd name="connsiteY1" fmla="*/ 6428991 h 6527490"/>
              <a:gd name="connsiteX2" fmla="*/ 0 w 16347843"/>
              <a:gd name="connsiteY2" fmla="*/ 4078757 h 6527490"/>
              <a:gd name="connsiteX3" fmla="*/ 7458605 w 16347843"/>
              <a:gd name="connsiteY3" fmla="*/ 24413 h 6527490"/>
              <a:gd name="connsiteX0" fmla="*/ 7458605 w 15758036"/>
              <a:gd name="connsiteY0" fmla="*/ 24413 h 5936379"/>
              <a:gd name="connsiteX1" fmla="*/ 15758036 w 15758036"/>
              <a:gd name="connsiteY1" fmla="*/ 5816872 h 5936379"/>
              <a:gd name="connsiteX2" fmla="*/ 0 w 15758036"/>
              <a:gd name="connsiteY2" fmla="*/ 4078757 h 5936379"/>
              <a:gd name="connsiteX3" fmla="*/ 7458605 w 15758036"/>
              <a:gd name="connsiteY3" fmla="*/ 24413 h 5936379"/>
              <a:gd name="connsiteX0" fmla="*/ 7458605 w 15758094"/>
              <a:gd name="connsiteY0" fmla="*/ 24413 h 5816876"/>
              <a:gd name="connsiteX1" fmla="*/ 15758036 w 15758094"/>
              <a:gd name="connsiteY1" fmla="*/ 5816872 h 5816876"/>
              <a:gd name="connsiteX2" fmla="*/ 0 w 15758094"/>
              <a:gd name="connsiteY2" fmla="*/ 4078757 h 5816876"/>
              <a:gd name="connsiteX3" fmla="*/ 7458605 w 15758094"/>
              <a:gd name="connsiteY3" fmla="*/ 24413 h 5816876"/>
              <a:gd name="connsiteX0" fmla="*/ 7458605 w 15758092"/>
              <a:gd name="connsiteY0" fmla="*/ 0 h 5792463"/>
              <a:gd name="connsiteX1" fmla="*/ 15758036 w 15758092"/>
              <a:gd name="connsiteY1" fmla="*/ 5792459 h 5792463"/>
              <a:gd name="connsiteX2" fmla="*/ 0 w 15758092"/>
              <a:gd name="connsiteY2" fmla="*/ 4054344 h 5792463"/>
              <a:gd name="connsiteX3" fmla="*/ 7458605 w 15758092"/>
              <a:gd name="connsiteY3" fmla="*/ 0 h 5792463"/>
              <a:gd name="connsiteX0" fmla="*/ 10063310 w 18362741"/>
              <a:gd name="connsiteY0" fmla="*/ 0 h 5792459"/>
              <a:gd name="connsiteX1" fmla="*/ 18362741 w 18362741"/>
              <a:gd name="connsiteY1" fmla="*/ 5792459 h 5792459"/>
              <a:gd name="connsiteX2" fmla="*/ 0 w 18362741"/>
              <a:gd name="connsiteY2" fmla="*/ 4072391 h 5792459"/>
              <a:gd name="connsiteX3" fmla="*/ 10063310 w 18362741"/>
              <a:gd name="connsiteY3" fmla="*/ 0 h 5792459"/>
              <a:gd name="connsiteX0" fmla="*/ 10063310 w 21000980"/>
              <a:gd name="connsiteY0" fmla="*/ 0 h 5804491"/>
              <a:gd name="connsiteX1" fmla="*/ 21000980 w 21000980"/>
              <a:gd name="connsiteY1" fmla="*/ 5804491 h 5804491"/>
              <a:gd name="connsiteX2" fmla="*/ 0 w 21000980"/>
              <a:gd name="connsiteY2" fmla="*/ 4072391 h 5804491"/>
              <a:gd name="connsiteX3" fmla="*/ 10063310 w 21000980"/>
              <a:gd name="connsiteY3" fmla="*/ 0 h 58044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000980" h="5804491">
                <a:moveTo>
                  <a:pt x="10063310" y="0"/>
                </a:moveTo>
                <a:lnTo>
                  <a:pt x="21000980" y="5804491"/>
                </a:lnTo>
                <a:lnTo>
                  <a:pt x="0" y="4072391"/>
                </a:lnTo>
                <a:cubicBezTo>
                  <a:pt x="35108" y="4078059"/>
                  <a:pt x="10077060" y="16373"/>
                  <a:pt x="1006331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A20B57-9C1D-4E8F-B2A3-A6062F929C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374648"/>
            <a:ext cx="5486400" cy="3429000"/>
          </a:xfrm>
          <a:prstGeom prst="rect">
            <a:avLst/>
          </a:prstGeom>
        </p:spPr>
        <p:txBody>
          <a:bodyPr anchor="t" anchorCtr="0"/>
          <a:lstStyle>
            <a:lvl1pPr>
              <a:defRPr sz="4800" spc="-100" baseline="0"/>
            </a:lvl1pPr>
          </a:lstStyle>
          <a:p>
            <a:r>
              <a:rPr lang="en-US" dirty="0"/>
              <a:t>[Section title]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CAE7B09-EFDA-4882-BEA2-CFBFDB447C15}"/>
              </a:ext>
            </a:extLst>
          </p:cNvPr>
          <p:cNvSpPr/>
          <p:nvPr userDrawn="1"/>
        </p:nvSpPr>
        <p:spPr>
          <a:xfrm>
            <a:off x="4936446" y="6212344"/>
            <a:ext cx="2508150" cy="353907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8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12141AD-DADC-47A0-9135-1CC72E1B100A}"/>
              </a:ext>
            </a:extLst>
          </p:cNvPr>
          <p:cNvSpPr/>
          <p:nvPr userDrawn="1"/>
        </p:nvSpPr>
        <p:spPr>
          <a:xfrm>
            <a:off x="11335109" y="6280080"/>
            <a:ext cx="591591" cy="353907"/>
          </a:xfrm>
          <a:prstGeom prst="rect">
            <a:avLst/>
          </a:prstGeom>
          <a:solidFill>
            <a:srgbClr val="F4F4F4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9371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2" pos="37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8FEA265-42F4-44C5-BD37-8FB01D93BB3E}"/>
              </a:ext>
            </a:extLst>
          </p:cNvPr>
          <p:cNvSpPr/>
          <p:nvPr userDrawn="1"/>
        </p:nvSpPr>
        <p:spPr>
          <a:xfrm>
            <a:off x="4936446" y="6212344"/>
            <a:ext cx="2508150" cy="353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800" dirty="0"/>
          </a:p>
        </p:txBody>
      </p:sp>
      <p:grpSp>
        <p:nvGrpSpPr>
          <p:cNvPr id="14" name="Shapes">
            <a:extLst>
              <a:ext uri="{FF2B5EF4-FFF2-40B4-BE49-F238E27FC236}">
                <a16:creationId xmlns:a16="http://schemas.microsoft.com/office/drawing/2014/main" id="{015844A7-B671-4D8F-B8C4-3657BA9099DB}"/>
              </a:ext>
            </a:extLst>
          </p:cNvPr>
          <p:cNvGrpSpPr/>
          <p:nvPr userDrawn="1"/>
        </p:nvGrpSpPr>
        <p:grpSpPr>
          <a:xfrm>
            <a:off x="4484721" y="456312"/>
            <a:ext cx="7250555" cy="5944426"/>
            <a:chOff x="4484721" y="456312"/>
            <a:chExt cx="7250555" cy="5944426"/>
          </a:xfrm>
        </p:grpSpPr>
        <p:sp>
          <p:nvSpPr>
            <p:cNvPr id="15" name="Shape 1">
              <a:extLst>
                <a:ext uri="{FF2B5EF4-FFF2-40B4-BE49-F238E27FC236}">
                  <a16:creationId xmlns:a16="http://schemas.microsoft.com/office/drawing/2014/main" id="{17C7DEA7-5328-472A-81E2-B5398AA52ED3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>
              <a:spLocks noChangeAspect="1" noEditPoints="1"/>
            </p:cNvSpPr>
            <p:nvPr userDrawn="1"/>
          </p:nvSpPr>
          <p:spPr bwMode="hidden">
            <a:xfrm>
              <a:off x="7707222" y="456567"/>
              <a:ext cx="4028054" cy="2896340"/>
            </a:xfrm>
            <a:custGeom>
              <a:avLst/>
              <a:gdLst>
                <a:gd name="T0" fmla="*/ 4228 w 4228"/>
                <a:gd name="T1" fmla="*/ 2080 h 3040"/>
                <a:gd name="T2" fmla="*/ 4228 w 4228"/>
                <a:gd name="T3" fmla="*/ 2080 h 3040"/>
                <a:gd name="T4" fmla="*/ 0 w 4228"/>
                <a:gd name="T5" fmla="*/ 0 h 3040"/>
                <a:gd name="T6" fmla="*/ 2472 w 4228"/>
                <a:gd name="T7" fmla="*/ 3040 h 3040"/>
                <a:gd name="T8" fmla="*/ 4228 w 4228"/>
                <a:gd name="T9" fmla="*/ 2080 h 30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28" h="3040">
                  <a:moveTo>
                    <a:pt x="4228" y="2080"/>
                  </a:moveTo>
                  <a:lnTo>
                    <a:pt x="4228" y="2080"/>
                  </a:lnTo>
                  <a:lnTo>
                    <a:pt x="0" y="0"/>
                  </a:lnTo>
                  <a:lnTo>
                    <a:pt x="2472" y="3040"/>
                  </a:lnTo>
                  <a:lnTo>
                    <a:pt x="4228" y="2080"/>
                  </a:lnTo>
                  <a:close/>
                </a:path>
              </a:pathLst>
            </a:custGeom>
            <a:solidFill>
              <a:srgbClr val="C3EC0C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Shape 2">
              <a:extLst>
                <a:ext uri="{FF2B5EF4-FFF2-40B4-BE49-F238E27FC236}">
                  <a16:creationId xmlns:a16="http://schemas.microsoft.com/office/drawing/2014/main" id="{3985F0C3-0FDD-44E2-8F13-EBA06EA7AA97}"/>
                </a:ext>
              </a:extLst>
            </p:cNvPr>
            <p:cNvSpPr>
              <a:spLocks noChangeAspect="1" noEditPoints="1"/>
            </p:cNvSpPr>
            <p:nvPr userDrawn="1"/>
          </p:nvSpPr>
          <p:spPr bwMode="hidden">
            <a:xfrm>
              <a:off x="4484721" y="456312"/>
              <a:ext cx="7250043" cy="5944426"/>
            </a:xfrm>
            <a:custGeom>
              <a:avLst/>
              <a:gdLst>
                <a:gd name="connsiteX0" fmla="*/ 3222559 w 7250043"/>
                <a:gd name="connsiteY0" fmla="*/ 0 h 5944426"/>
                <a:gd name="connsiteX1" fmla="*/ 7250043 w 7250043"/>
                <a:gd name="connsiteY1" fmla="*/ 4953688 h 5944426"/>
                <a:gd name="connsiteX2" fmla="*/ 0 w 7250043"/>
                <a:gd name="connsiteY2" fmla="*/ 5944426 h 5944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250043" h="5944426">
                  <a:moveTo>
                    <a:pt x="3222559" y="0"/>
                  </a:moveTo>
                  <a:lnTo>
                    <a:pt x="7250043" y="4953688"/>
                  </a:lnTo>
                  <a:lnTo>
                    <a:pt x="0" y="5944426"/>
                  </a:lnTo>
                  <a:close/>
                </a:path>
              </a:pathLst>
            </a:custGeom>
            <a:solidFill>
              <a:srgbClr val="93D500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rgbClr val="000000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>
                <a:lnSpc>
                  <a:spcPct val="100000"/>
                </a:lnSpc>
              </a:pPr>
              <a:endParaRPr lang="en-US" sz="1800" dirty="0"/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D46D5459-1958-4E41-9ACB-285DB7AF3B1B}"/>
              </a:ext>
            </a:extLst>
          </p:cNvPr>
          <p:cNvSpPr/>
          <p:nvPr userDrawn="1"/>
        </p:nvSpPr>
        <p:spPr>
          <a:xfrm>
            <a:off x="201881" y="6129951"/>
            <a:ext cx="1626919" cy="460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  <p:sp>
        <p:nvSpPr>
          <p:cNvPr id="5" name="Contact">
            <a:extLst>
              <a:ext uri="{FF2B5EF4-FFF2-40B4-BE49-F238E27FC236}">
                <a16:creationId xmlns:a16="http://schemas.microsoft.com/office/drawing/2014/main" id="{D94549FF-0AAD-5F4F-8AB4-53D19F7F294B}"/>
              </a:ext>
            </a:extLst>
          </p:cNvPr>
          <p:cNvSpPr txBox="1"/>
          <p:nvPr userDrawn="1"/>
        </p:nvSpPr>
        <p:spPr>
          <a:xfrm>
            <a:off x="457200" y="374650"/>
            <a:ext cx="5486400" cy="137477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4800" b="1" spc="-100" baseline="0" dirty="0"/>
              <a:t>Contac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6A82D97-0BCC-4220-AC57-96607F9340D6}"/>
              </a:ext>
            </a:extLst>
          </p:cNvPr>
          <p:cNvSpPr/>
          <p:nvPr userDrawn="1"/>
        </p:nvSpPr>
        <p:spPr>
          <a:xfrm>
            <a:off x="151412" y="6129951"/>
            <a:ext cx="1220189" cy="460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B4513E-A1D9-4373-94C0-10759B0BC892}"/>
              </a:ext>
            </a:extLst>
          </p:cNvPr>
          <p:cNvSpPr txBox="1"/>
          <p:nvPr userDrawn="1"/>
        </p:nvSpPr>
        <p:spPr>
          <a:xfrm>
            <a:off x="392908" y="6050054"/>
            <a:ext cx="2841500" cy="38853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" dirty="0"/>
              <a:t>©2020 Guidehouse Inc.  All rights reserved. This content is for general information purposes only, and should not be used as a substitute for consultation with professional advisors.</a:t>
            </a:r>
            <a:endParaRPr lang="en-US" sz="800" b="0" i="0" spc="31" baseline="0" dirty="0">
              <a:ea typeface="Neue Haas Grotesk Display Std 55 Roman" charset="0"/>
              <a:cs typeface="Neue Haas Grotesk Display Std 55 Roman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B783759-792B-4F02-8B5C-1E4B68EAA7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2907" y="5498747"/>
            <a:ext cx="1536192" cy="38853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150A8EC1-71BC-43D5-B0D6-87E3731B393E}"/>
              </a:ext>
            </a:extLst>
          </p:cNvPr>
          <p:cNvSpPr/>
          <p:nvPr userDrawn="1"/>
        </p:nvSpPr>
        <p:spPr>
          <a:xfrm>
            <a:off x="11481758" y="6236898"/>
            <a:ext cx="558830" cy="3539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4996142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DBD0E38-54A8-4EB5-BFB5-3C60B171AD64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3940990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/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">
            <a:extLst>
              <a:ext uri="{FF2B5EF4-FFF2-40B4-BE49-F238E27FC236}">
                <a16:creationId xmlns:a16="http://schemas.microsoft.com/office/drawing/2014/main" id="{DE3424D6-78F7-4144-A1E8-D56118CB90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 userDrawn="1"/>
        </p:nvSpPr>
        <p:spPr bwMode="hidden">
          <a:xfrm>
            <a:off x="7707222" y="456567"/>
            <a:ext cx="4028054" cy="2896340"/>
          </a:xfrm>
          <a:custGeom>
            <a:avLst/>
            <a:gdLst>
              <a:gd name="T0" fmla="*/ 4228 w 4228"/>
              <a:gd name="T1" fmla="*/ 2080 h 3040"/>
              <a:gd name="T2" fmla="*/ 4228 w 4228"/>
              <a:gd name="T3" fmla="*/ 2080 h 3040"/>
              <a:gd name="T4" fmla="*/ 0 w 4228"/>
              <a:gd name="T5" fmla="*/ 0 h 3040"/>
              <a:gd name="T6" fmla="*/ 2472 w 4228"/>
              <a:gd name="T7" fmla="*/ 3040 h 3040"/>
              <a:gd name="T8" fmla="*/ 4228 w 4228"/>
              <a:gd name="T9" fmla="*/ 2080 h 30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228" h="3040">
                <a:moveTo>
                  <a:pt x="4228" y="2080"/>
                </a:moveTo>
                <a:lnTo>
                  <a:pt x="4228" y="2080"/>
                </a:lnTo>
                <a:lnTo>
                  <a:pt x="0" y="0"/>
                </a:lnTo>
                <a:lnTo>
                  <a:pt x="2472" y="3040"/>
                </a:lnTo>
                <a:lnTo>
                  <a:pt x="4228" y="2080"/>
                </a:lnTo>
                <a:close/>
              </a:path>
            </a:pathLst>
          </a:custGeom>
          <a:solidFill>
            <a:srgbClr val="C3EC0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77FC4A0E-480A-4616-AABA-2E10C878AE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hidden">
          <a:xfrm>
            <a:off x="4484722" y="456312"/>
            <a:ext cx="7250043" cy="5944426"/>
          </a:xfrm>
          <a:custGeom>
            <a:avLst/>
            <a:gdLst>
              <a:gd name="connsiteX0" fmla="*/ 3222559 w 7250043"/>
              <a:gd name="connsiteY0" fmla="*/ 0 h 5944426"/>
              <a:gd name="connsiteX1" fmla="*/ 7250043 w 7250043"/>
              <a:gd name="connsiteY1" fmla="*/ 4953688 h 5944426"/>
              <a:gd name="connsiteX2" fmla="*/ 0 w 7250043"/>
              <a:gd name="connsiteY2" fmla="*/ 5944426 h 5944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250043" h="5944426">
                <a:moveTo>
                  <a:pt x="3222559" y="0"/>
                </a:moveTo>
                <a:lnTo>
                  <a:pt x="7250043" y="4953688"/>
                </a:lnTo>
                <a:lnTo>
                  <a:pt x="0" y="5944426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 anchorCtr="0">
            <a:noAutofit/>
          </a:bodyPr>
          <a:lstStyle>
            <a:lvl1pPr marL="0" indent="0" algn="ctr">
              <a:buFontTx/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4" name="Guidehouse Logo" descr="Guidehouse">
            <a:extLst>
              <a:ext uri="{FF2B5EF4-FFF2-40B4-BE49-F238E27FC236}">
                <a16:creationId xmlns:a16="http://schemas.microsoft.com/office/drawing/2014/main" id="{FA2772B8-B63F-594C-AD84-89D9237E071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231775" y="229237"/>
            <a:ext cx="2547112" cy="981456"/>
          </a:xfrm>
          <a:prstGeom prst="rect">
            <a:avLst/>
          </a:prstGeom>
        </p:spPr>
      </p:pic>
      <p:sp>
        <p:nvSpPr>
          <p:cNvPr id="2" name="Title 2">
            <a:extLst>
              <a:ext uri="{FF2B5EF4-FFF2-40B4-BE49-F238E27FC236}">
                <a16:creationId xmlns:a16="http://schemas.microsoft.com/office/drawing/2014/main" id="{DD93F370-0603-42F8-A7D8-E3390EE70687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457200" y="1736725"/>
            <a:ext cx="5486400" cy="2057400"/>
          </a:xfrm>
          <a:prstGeom prst="rect">
            <a:avLst/>
          </a:prstGeom>
        </p:spPr>
        <p:txBody>
          <a:bodyPr anchor="b"/>
          <a:lstStyle>
            <a:lvl1pPr algn="l">
              <a:defRPr sz="4800" spc="-100" baseline="0"/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4077195B-8D8D-4BD5-8ADD-A390F24676CD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57200" y="4023360"/>
            <a:ext cx="5486400" cy="1189931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800"/>
            </a:lvl1pPr>
            <a:lvl2pPr marL="0" indent="0" algn="l">
              <a:spcBef>
                <a:spcPts val="0"/>
              </a:spcBef>
              <a:buNone/>
              <a:defRPr sz="1800"/>
            </a:lvl2pPr>
            <a:lvl3pPr marL="0" indent="0" algn="l">
              <a:spcBef>
                <a:spcPts val="0"/>
              </a:spcBef>
              <a:buNone/>
              <a:defRPr sz="1800"/>
            </a:lvl3pPr>
            <a:lvl4pPr marL="0" indent="0" algn="l">
              <a:spcBef>
                <a:spcPts val="0"/>
              </a:spcBef>
              <a:buNone/>
              <a:defRPr sz="1800"/>
            </a:lvl4pPr>
            <a:lvl5pPr marL="0" indent="0" algn="l">
              <a:spcBef>
                <a:spcPts val="0"/>
              </a:spcBef>
              <a:buNone/>
              <a:defRPr sz="1800"/>
            </a:lvl5pPr>
            <a:lvl6pPr marL="0" indent="0" algn="l">
              <a:spcBef>
                <a:spcPts val="0"/>
              </a:spcBef>
              <a:buNone/>
              <a:defRPr sz="1800"/>
            </a:lvl6pPr>
            <a:lvl7pPr marL="0" indent="0" algn="l">
              <a:spcBef>
                <a:spcPts val="0"/>
              </a:spcBef>
              <a:buNone/>
              <a:defRPr sz="1800"/>
            </a:lvl7pPr>
            <a:lvl8pPr marL="0" indent="0" algn="l">
              <a:spcBef>
                <a:spcPts val="0"/>
              </a:spcBef>
              <a:buNone/>
              <a:defRPr sz="1800"/>
            </a:lvl8pPr>
            <a:lvl9pPr marL="0" indent="0" algn="l">
              <a:spcBef>
                <a:spcPts val="0"/>
              </a:spcBef>
              <a:buNone/>
              <a:defRPr sz="1800"/>
            </a:lvl9pPr>
          </a:lstStyle>
          <a:p>
            <a:r>
              <a:rPr lang="en-US" dirty="0"/>
              <a:t>[Optional presentation subtitle]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C800EA8-6366-7F4C-B7F3-6DF82E498590}"/>
              </a:ext>
            </a:extLst>
          </p:cNvPr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457200" y="5815907"/>
            <a:ext cx="5486400" cy="638868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/>
            </a:lvl1pPr>
            <a:lvl2pPr marL="0" indent="0">
              <a:spcBef>
                <a:spcPts val="0"/>
              </a:spcBef>
              <a:buFontTx/>
              <a:buNone/>
              <a:defRPr/>
            </a:lvl2pPr>
            <a:lvl3pPr marL="0" indent="0">
              <a:spcBef>
                <a:spcPts val="0"/>
              </a:spcBef>
              <a:buFontTx/>
              <a:buNone/>
              <a:defRPr/>
            </a:lvl3pPr>
            <a:lvl4pPr marL="0" indent="0">
              <a:spcBef>
                <a:spcPts val="0"/>
              </a:spcBef>
              <a:buFontTx/>
              <a:buNone/>
              <a:defRPr/>
            </a:lvl4pPr>
            <a:lvl5pPr marL="0" indent="0">
              <a:spcBef>
                <a:spcPts val="0"/>
              </a:spcBef>
              <a:buFontTx/>
              <a:buNone/>
              <a:defRPr/>
            </a:lvl5pPr>
            <a:lvl6pPr marL="0" indent="0">
              <a:spcBef>
                <a:spcPts val="0"/>
              </a:spcBef>
              <a:buFontTx/>
              <a:buNone/>
              <a:defRPr/>
            </a:lvl6pPr>
            <a:lvl7pPr marL="0" indent="0">
              <a:spcBef>
                <a:spcPts val="0"/>
              </a:spcBef>
              <a:buFontTx/>
              <a:buNone/>
              <a:defRPr/>
            </a:lvl7pPr>
            <a:lvl8pPr marL="0" indent="0">
              <a:spcBef>
                <a:spcPts val="0"/>
              </a:spcBef>
              <a:buFontTx/>
              <a:buNone/>
              <a:defRPr/>
            </a:lvl8pPr>
            <a:lvl9pPr marL="0" indent="0"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dirty="0"/>
              <a:t>[Month 00, 0000]</a:t>
            </a:r>
          </a:p>
        </p:txBody>
      </p:sp>
    </p:spTree>
    <p:extLst>
      <p:ext uri="{BB962C8B-B14F-4D97-AF65-F5344CB8AC3E}">
        <p14:creationId xmlns:p14="http://schemas.microsoft.com/office/powerpoint/2010/main" val="297816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74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/ Side Photo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B6377B3F-992D-428B-A6A1-13C03AE6349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4318000" cy="6080125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 dirty="0"/>
              <a:t> To insert picture, drag to</a:t>
            </a:r>
            <a:br>
              <a:rPr lang="en-US" dirty="0"/>
            </a:br>
            <a:r>
              <a:rPr lang="en-US" dirty="0"/>
              <a:t>placeholder or click icon to add.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272C2547-6442-40DB-B517-5BC3643F0FD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525479" y="1943100"/>
            <a:ext cx="7209320" cy="4316186"/>
          </a:xfrm>
        </p:spPr>
        <p:txBody>
          <a:bodyPr>
            <a:noAutofit/>
          </a:bodyPr>
          <a:lstStyle>
            <a:lvl1pPr>
              <a:spcBef>
                <a:spcPts val="1000"/>
              </a:spcBef>
              <a:defRPr sz="1400">
                <a:solidFill>
                  <a:schemeClr val="tx1"/>
                </a:solidFill>
              </a:defRPr>
            </a:lvl1pPr>
            <a:lvl2pPr>
              <a:spcBef>
                <a:spcPts val="800"/>
              </a:spcBef>
              <a:defRPr sz="1400">
                <a:solidFill>
                  <a:schemeClr val="tx1"/>
                </a:solidFill>
              </a:defRPr>
            </a:lvl2pPr>
            <a:lvl3pPr>
              <a:spcBef>
                <a:spcPts val="8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800"/>
              </a:spcBef>
              <a:defRPr sz="1400">
                <a:solidFill>
                  <a:schemeClr val="tx1"/>
                </a:solidFill>
              </a:defRPr>
            </a:lvl4pPr>
            <a:lvl5pPr>
              <a:spcBef>
                <a:spcPts val="8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A275C17B-53E7-4D33-B036-C6BB8D93E1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5479" y="639125"/>
            <a:ext cx="7209321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C4D77DFB-44A7-4F42-BF3A-51C90E3D12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25479" y="1082574"/>
            <a:ext cx="7209322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40568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037">
          <p15:clr>
            <a:srgbClr val="FBAE40"/>
          </p15:clr>
        </p15:guide>
        <p15:guide id="2" orient="horz" pos="383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with Top Photo">
    <p:bg>
      <p:bgPr>
        <a:solidFill>
          <a:srgbClr val="F4F4F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A47AC63D-3C95-4A3B-AE6C-D53D8911AA0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2"/>
            <a:ext cx="12192000" cy="3210537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anchor="ctr"/>
          <a:lstStyle>
            <a:lvl1pPr marL="0" marR="0" indent="0" algn="ctr" defTabSz="91437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lang="en-US" sz="1600" b="0" i="0" kern="1200" spc="0" baseline="0" dirty="0">
                <a:solidFill>
                  <a:schemeClr val="bg2"/>
                </a:solidFill>
                <a:latin typeface="+mn-lt"/>
                <a:ea typeface="Arial Regular" charset="0"/>
                <a:cs typeface="Arial Regular" charset="0"/>
              </a:defRPr>
            </a:lvl1pPr>
          </a:lstStyle>
          <a:p>
            <a:r>
              <a:rPr lang="en-US" dirty="0"/>
              <a:t> To insert picture, drag to placeholder or click icon to add.</a:t>
            </a:r>
          </a:p>
        </p:txBody>
      </p:sp>
      <p:sp>
        <p:nvSpPr>
          <p:cNvPr id="8" name="Parallelogram 10">
            <a:extLst>
              <a:ext uri="{FF2B5EF4-FFF2-40B4-BE49-F238E27FC236}">
                <a16:creationId xmlns:a16="http://schemas.microsoft.com/office/drawing/2014/main" id="{107AD8EC-7A7C-4242-ADFF-6A13B1962F96}"/>
              </a:ext>
            </a:extLst>
          </p:cNvPr>
          <p:cNvSpPr/>
          <p:nvPr userDrawn="1"/>
        </p:nvSpPr>
        <p:spPr>
          <a:xfrm>
            <a:off x="1" y="3213950"/>
            <a:ext cx="12219093" cy="4571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b="0" i="0" spc="30" baseline="0" dirty="0">
              <a:solidFill>
                <a:schemeClr val="tx1"/>
              </a:solidFill>
              <a:ea typeface="Neue Haas Grotesk Display Std 55 Roman" charset="0"/>
              <a:cs typeface="Neue Haas Grotesk Display Std 55 Roman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4D53320-E17D-4E65-BC75-75E006181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429001"/>
            <a:ext cx="11277600" cy="393261"/>
          </a:xfrm>
          <a:prstGeom prst="rect">
            <a:avLst/>
          </a:prstGeom>
        </p:spPr>
        <p:txBody>
          <a:bodyPr/>
          <a:lstStyle>
            <a:lvl1pPr>
              <a:defRPr sz="32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00B6C7-B66A-4A6A-A826-65D2844260EC}"/>
              </a:ext>
            </a:extLst>
          </p:cNvPr>
          <p:cNvSpPr txBox="1"/>
          <p:nvPr userDrawn="1"/>
        </p:nvSpPr>
        <p:spPr>
          <a:xfrm>
            <a:off x="301384" y="4295603"/>
            <a:ext cx="538448" cy="704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4800" b="1" i="0" spc="30" baseline="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rPr>
              <a:t>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D916266-F344-4F96-9B26-AC67BFB1A25B}"/>
              </a:ext>
            </a:extLst>
          </p:cNvPr>
          <p:cNvSpPr txBox="1"/>
          <p:nvPr userDrawn="1"/>
        </p:nvSpPr>
        <p:spPr>
          <a:xfrm>
            <a:off x="3048431" y="4295603"/>
            <a:ext cx="538448" cy="704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4800" b="1" i="0" spc="30" baseline="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rPr>
              <a:t>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8BD8D04-096C-45E8-83E4-F0E12A0BD2D6}"/>
              </a:ext>
            </a:extLst>
          </p:cNvPr>
          <p:cNvSpPr txBox="1"/>
          <p:nvPr userDrawn="1"/>
        </p:nvSpPr>
        <p:spPr>
          <a:xfrm>
            <a:off x="5897700" y="4295603"/>
            <a:ext cx="538448" cy="704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4800" b="1" i="0" spc="30" baseline="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rPr>
              <a:t>3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F080A61-012B-4062-95BE-E84543069BC4}"/>
              </a:ext>
            </a:extLst>
          </p:cNvPr>
          <p:cNvSpPr txBox="1"/>
          <p:nvPr userDrawn="1"/>
        </p:nvSpPr>
        <p:spPr>
          <a:xfrm>
            <a:off x="8757207" y="4295603"/>
            <a:ext cx="538448" cy="7041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r>
              <a:rPr lang="en-US" sz="4800" b="1" i="0" spc="30" baseline="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rPr>
              <a:t>4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CE89403F-54E7-47F4-991A-6E647251818B}"/>
              </a:ext>
            </a:extLst>
          </p:cNvPr>
          <p:cNvGrpSpPr/>
          <p:nvPr userDrawn="1"/>
        </p:nvGrpSpPr>
        <p:grpSpPr>
          <a:xfrm>
            <a:off x="803589" y="4429311"/>
            <a:ext cx="8546598" cy="484094"/>
            <a:chOff x="602690" y="4440215"/>
            <a:chExt cx="6409948" cy="883625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2F8493A-5A57-41ED-BC36-A03719BE5EF3}"/>
                </a:ext>
              </a:extLst>
            </p:cNvPr>
            <p:cNvCxnSpPr/>
            <p:nvPr userDrawn="1"/>
          </p:nvCxnSpPr>
          <p:spPr>
            <a:xfrm>
              <a:off x="602690" y="4440215"/>
              <a:ext cx="0" cy="883625"/>
            </a:xfrm>
            <a:prstGeom prst="line">
              <a:avLst/>
            </a:prstGeom>
            <a:ln w="381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7D9671E3-B7F3-4804-B7CE-62862AF155EB}"/>
                </a:ext>
              </a:extLst>
            </p:cNvPr>
            <p:cNvCxnSpPr/>
            <p:nvPr userDrawn="1"/>
          </p:nvCxnSpPr>
          <p:spPr>
            <a:xfrm>
              <a:off x="2731631" y="4440215"/>
              <a:ext cx="0" cy="883625"/>
            </a:xfrm>
            <a:prstGeom prst="line">
              <a:avLst/>
            </a:prstGeom>
            <a:ln w="381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890E31B5-2F47-41A8-8EB8-22AC0452480C}"/>
                </a:ext>
              </a:extLst>
            </p:cNvPr>
            <p:cNvCxnSpPr/>
            <p:nvPr userDrawn="1"/>
          </p:nvCxnSpPr>
          <p:spPr>
            <a:xfrm>
              <a:off x="4869083" y="4440215"/>
              <a:ext cx="0" cy="883625"/>
            </a:xfrm>
            <a:prstGeom prst="line">
              <a:avLst/>
            </a:prstGeom>
            <a:ln w="381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8BC79F4-19F2-40BD-98BA-38E7C51463B4}"/>
                </a:ext>
              </a:extLst>
            </p:cNvPr>
            <p:cNvCxnSpPr/>
            <p:nvPr userDrawn="1"/>
          </p:nvCxnSpPr>
          <p:spPr>
            <a:xfrm>
              <a:off x="7012638" y="4440215"/>
              <a:ext cx="0" cy="883625"/>
            </a:xfrm>
            <a:prstGeom prst="line">
              <a:avLst/>
            </a:prstGeom>
            <a:ln w="38100">
              <a:solidFill>
                <a:schemeClr val="accent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68731F0-304A-4C77-A21B-15D4F702536D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9484661" y="4729943"/>
            <a:ext cx="2107733" cy="1442258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200" b="0" spc="30" dirty="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EF9EECD-631C-48D4-A1FD-A02FB8F6788E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9484661" y="4093200"/>
            <a:ext cx="2107733" cy="570897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buFontTx/>
              <a:buNone/>
              <a:defRPr lang="en-US" sz="1400" b="1" spc="3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FCC6A877-B80D-48E6-9056-09DC037D54D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626535" y="4729943"/>
            <a:ext cx="2107733" cy="1442258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200" b="0" spc="30" dirty="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4A835065-1C45-4855-AE16-FE4C77A1E3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626535" y="4093200"/>
            <a:ext cx="2107733" cy="570897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buFontTx/>
              <a:buNone/>
              <a:defRPr lang="en-US" sz="1400" b="1" spc="3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234C373C-9A2E-4C02-B7F1-5BBB11909748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3768411" y="4729943"/>
            <a:ext cx="2107733" cy="1442258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200" b="0" spc="30" dirty="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9BA9FC6-2718-4369-B423-B9A02D5262E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3768411" y="4093200"/>
            <a:ext cx="2107733" cy="570897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buFontTx/>
              <a:buNone/>
              <a:defRPr lang="en-US" sz="1400" b="1" spc="3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CD0CE79C-A1C2-4CF7-AA55-6B727BBE18D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930271" y="4729943"/>
            <a:ext cx="2107733" cy="1442258"/>
          </a:xfrm>
          <a:noFill/>
        </p:spPr>
        <p:txBody>
          <a:bodyPr wrap="square" lIns="0" tIns="0" rIns="0" bIns="0" rtlCol="0">
            <a:noAutofit/>
          </a:bodyPr>
          <a:lstStyle>
            <a:lvl1pPr>
              <a:defRPr lang="en-US" sz="1200" b="0" spc="30" dirty="0" smtClean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4BBA2291-F1ED-4031-9F63-1F9172A0141E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930271" y="4093200"/>
            <a:ext cx="2107733" cy="570897"/>
          </a:xfrm>
          <a:noFill/>
        </p:spPr>
        <p:txBody>
          <a:bodyPr wrap="square" lIns="0" tIns="0" rIns="0" bIns="0" rtlCol="0" anchor="b">
            <a:noAutofit/>
          </a:bodyPr>
          <a:lstStyle>
            <a:lvl1pPr marL="0" indent="0">
              <a:buFontTx/>
              <a:buNone/>
              <a:defRPr lang="en-US" sz="1400" b="1" spc="30" dirty="0">
                <a:solidFill>
                  <a:schemeClr val="tx1"/>
                </a:solidFill>
                <a:ea typeface="Neue Haas Grotesk Display Std 55 Roman" charset="0"/>
                <a:cs typeface="Neue Haas Grotesk Display Std 55 Roman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133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106">
          <p15:clr>
            <a:srgbClr val="FBAE40"/>
          </p15:clr>
        </p15:guide>
        <p15:guide id="2" orient="horz" pos="4085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BCB52D-820B-4886-993D-F1BD3CE0A1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06A5F74-19FF-46D6-A68E-584E3C808D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457200"/>
            <a:ext cx="11277599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13A89924-9D28-4878-8118-BDCDFE1CEC6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0649"/>
            <a:ext cx="11277600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F043486-FE7C-43AD-88F9-95C9C36E5C67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oundRect">
            <a:avLst/>
          </a:prstGeom>
          <a:solidFill>
            <a:srgbClr val="93D5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2196829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orient="horz" pos="1094" userDrawn="1">
          <p15:clr>
            <a:srgbClr val="FBAE40"/>
          </p15:clr>
        </p15:guide>
        <p15:guide id="2" orient="horz" pos="383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736724"/>
            <a:ext cx="5486400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0" y="1736724"/>
            <a:ext cx="5486400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3A5C59A8-38B8-4EE1-899A-1E8FFF9AA2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E2ED012-0D7C-4C8D-8474-2EA2A64AA23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0649"/>
            <a:ext cx="11277600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58E7C8D7-2D4A-48BE-B305-98D44276221F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oundRect">
            <a:avLst/>
          </a:prstGeom>
          <a:solidFill>
            <a:srgbClr val="93D5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863907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3744" userDrawn="1">
          <p15:clr>
            <a:srgbClr val="FBAE40"/>
          </p15:clr>
        </p15:guide>
        <p15:guide id="2" pos="3936" userDrawn="1">
          <p15:clr>
            <a:srgbClr val="FBAE40"/>
          </p15:clr>
        </p15:guide>
        <p15:guide id="3" orient="horz" pos="3830" userDrawn="1">
          <p15:clr>
            <a:srgbClr val="FBAE40"/>
          </p15:clr>
        </p15:guide>
        <p15:guide id="4" orient="horz" pos="109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736724"/>
            <a:ext cx="3566160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07840" y="1736724"/>
            <a:ext cx="3566160" cy="4344035"/>
          </a:xfrm>
        </p:spPr>
        <p:txBody>
          <a:bodyPr>
            <a:noAutofit/>
          </a:bodyPr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168640" y="1736724"/>
            <a:ext cx="3566160" cy="434403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39E7E8D-C08F-4097-AE04-A9CBC0D71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411E24F8-60ED-4C8E-9FBF-2243AE75427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00" y="900649"/>
            <a:ext cx="11277600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5B026D46-80FE-47EA-834C-E7C59E796EAF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oundRect">
            <a:avLst/>
          </a:prstGeom>
          <a:solidFill>
            <a:srgbClr val="93D5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1924147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712" userDrawn="1">
          <p15:clr>
            <a:srgbClr val="FBAE40"/>
          </p15:clr>
        </p15:guide>
        <p15:guide id="2" pos="2536" userDrawn="1">
          <p15:clr>
            <a:srgbClr val="FBAE40"/>
          </p15:clr>
        </p15:guide>
        <p15:guide id="3" pos="4960" userDrawn="1">
          <p15:clr>
            <a:srgbClr val="FBAE40"/>
          </p15:clr>
        </p15:guide>
        <p15:guide id="4" pos="5144" userDrawn="1">
          <p15:clr>
            <a:srgbClr val="FBAE40"/>
          </p15:clr>
        </p15:guide>
        <p15:guide id="5" orient="horz" pos="1094" userDrawn="1">
          <p15:clr>
            <a:srgbClr val="FBAE40"/>
          </p15:clr>
        </p15:guide>
        <p15:guide id="6" orient="horz" pos="383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83941-3469-4946-BCE6-FA84F7323A0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736724"/>
            <a:ext cx="2587752" cy="434403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38A127C-C71C-410F-8BEA-B1AA4E4DB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55848" y="1736724"/>
            <a:ext cx="2587752" cy="434403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48592F68-1A92-1442-9565-3EF907A57B3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8400" y="1736724"/>
            <a:ext cx="2587752" cy="434403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04198CF4-E51B-2147-88D7-1228A1479BF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147048" y="1736724"/>
            <a:ext cx="2587752" cy="4344035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0F2F7D85-4C71-4E38-9F6F-0507C6116E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12776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DF4A1683-8B92-4C71-AB51-AB0EFC1FB6D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00" y="900649"/>
            <a:ext cx="11277600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4B97BABC-F1FA-4410-8D20-73BFF938FB10}"/>
              </a:ext>
            </a:extLst>
          </p:cNvPr>
          <p:cNvSpPr/>
          <p:nvPr userDrawn="1"/>
        </p:nvSpPr>
        <p:spPr>
          <a:xfrm>
            <a:off x="0" y="0"/>
            <a:ext cx="12192000" cy="45719"/>
          </a:xfrm>
          <a:prstGeom prst="roundRect">
            <a:avLst/>
          </a:prstGeom>
          <a:solidFill>
            <a:srgbClr val="93D5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16509900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extLst>
    <p:ext uri="{DCECCB84-F9BA-43D5-87BE-67443E8EF086}">
      <p15:sldGuideLst xmlns:p15="http://schemas.microsoft.com/office/powerpoint/2012/main">
        <p15:guide id="1" pos="2112" userDrawn="1">
          <p15:clr>
            <a:srgbClr val="FBAE40"/>
          </p15:clr>
        </p15:guide>
        <p15:guide id="2" pos="1920" userDrawn="1">
          <p15:clr>
            <a:srgbClr val="FBAE40"/>
          </p15:clr>
        </p15:guide>
        <p15:guide id="3" pos="5568" userDrawn="1">
          <p15:clr>
            <a:srgbClr val="FBAE40"/>
          </p15:clr>
        </p15:guide>
        <p15:guide id="4" pos="5760" userDrawn="1">
          <p15:clr>
            <a:srgbClr val="FBAE40"/>
          </p15:clr>
        </p15:guide>
        <p15:guide id="5" pos="3744" userDrawn="1">
          <p15:clr>
            <a:srgbClr val="FBAE40"/>
          </p15:clr>
        </p15:guide>
        <p15:guide id="6" pos="3936" userDrawn="1">
          <p15:clr>
            <a:srgbClr val="FBAE40"/>
          </p15:clr>
        </p15:guide>
        <p15:guide id="7" orient="horz" pos="1094" userDrawn="1">
          <p15:clr>
            <a:srgbClr val="FBAE40"/>
          </p15:clr>
        </p15:guide>
        <p15:guide id="8" orient="horz" pos="383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6CBCE331-57A3-4230-A81D-81129BE1E1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1"/>
            <a:ext cx="109728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1973BF3-0452-4FC7-805F-71190A7251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900650"/>
            <a:ext cx="11277600" cy="393261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Font typeface="Arial" charset="0"/>
              <a:buNone/>
              <a:tabLst/>
              <a:defRPr sz="2800" b="0" i="0">
                <a:latin typeface="+mj-lt"/>
                <a:ea typeface="Arial" charset="0"/>
                <a:cs typeface="Arial" charset="0"/>
              </a:defRPr>
            </a:lvl1pPr>
            <a:lvl2pPr marL="0" indent="0">
              <a:spcBef>
                <a:spcPts val="0"/>
              </a:spcBef>
              <a:buFont typeface="Arial" charset="0"/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2pPr>
            <a:lvl3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3pPr>
            <a:lvl4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4pPr>
            <a:lvl5pPr marL="0" indent="0">
              <a:spcBef>
                <a:spcPts val="0"/>
              </a:spcBef>
              <a:buNone/>
              <a:tabLst/>
              <a:defRPr sz="2400" b="0" i="0">
                <a:latin typeface="Neue Haas Grotesk Display Std 55 Roman" charset="0"/>
                <a:ea typeface="Neue Haas Grotesk Display Std 55 Roman" charset="0"/>
                <a:cs typeface="Neue Haas Grotesk Display Std 55 Roman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F2B183DA-DFAB-4A4E-99DE-31AE7D90C0FE}"/>
              </a:ext>
            </a:extLst>
          </p:cNvPr>
          <p:cNvSpPr/>
          <p:nvPr userDrawn="1"/>
        </p:nvSpPr>
        <p:spPr>
          <a:xfrm>
            <a:off x="0" y="2"/>
            <a:ext cx="12192000" cy="45719"/>
          </a:xfrm>
          <a:prstGeom prst="round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M" sz="1800"/>
          </a:p>
        </p:txBody>
      </p:sp>
    </p:spTree>
    <p:extLst>
      <p:ext uri="{BB962C8B-B14F-4D97-AF65-F5344CB8AC3E}">
        <p14:creationId xmlns:p14="http://schemas.microsoft.com/office/powerpoint/2010/main" val="1198742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106">
          <p15:clr>
            <a:srgbClr val="FBAE40"/>
          </p15:clr>
        </p15:guide>
        <p15:guide id="2" orient="horz" pos="408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3027307-4302-4406-9CE0-81F446B257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61568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3" imgW="499" imgH="499" progId="TCLayout.ActiveDocument.1">
                  <p:embed/>
                </p:oleObj>
              </mc:Choice>
              <mc:Fallback>
                <p:oleObj name="think-cell Slide" r:id="rId23" imgW="499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3027307-4302-4406-9CE0-81F446B257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0FD45C5-96FA-4A82-8817-EF066912420C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DE4FC5-C208-4061-8E32-8B795BC19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737360"/>
            <a:ext cx="11277600" cy="4343400"/>
          </a:xfrm>
          <a:prstGeom prst="rect">
            <a:avLst/>
          </a:prstGeom>
        </p:spPr>
        <p:txBody>
          <a:bodyPr vert="horz" lIns="0" tIns="0" rIns="0" bIns="0" spcCol="30175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B41FE90-AF64-4E43-B5D9-DC933F122734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6712" y="6183592"/>
            <a:ext cx="1062038" cy="268609"/>
          </a:xfrm>
          <a:prstGeom prst="rect">
            <a:avLst/>
          </a:prstGeom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EB49C1C-CAA6-4E4B-9714-66E94366A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10972800" cy="39326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70498A0D-39DC-43EA-9693-B922438EEA58}"/>
              </a:ext>
            </a:extLst>
          </p:cNvPr>
          <p:cNvSpPr txBox="1">
            <a:spLocks/>
          </p:cNvSpPr>
          <p:nvPr userDrawn="1"/>
        </p:nvSpPr>
        <p:spPr>
          <a:xfrm>
            <a:off x="11329460" y="6234888"/>
            <a:ext cx="405340" cy="18288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C0D4A90D-707C-4CFA-8F87-17CF45DE2B45}" type="slidenum">
              <a:rPr lang="en-US" sz="800" smtClean="0">
                <a:solidFill>
                  <a:schemeClr val="tx1"/>
                </a:solidFill>
              </a:rPr>
              <a:pPr algn="r"/>
              <a:t>‹#›</a:t>
            </a:fld>
            <a:endParaRPr lang="en-US" sz="800" dirty="0">
              <a:solidFill>
                <a:schemeClr val="tx1"/>
              </a:solidFill>
            </a:endParaRP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262B7B06-4A24-424A-9714-B61649B8A6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00400" y="1202113"/>
            <a:ext cx="5486400" cy="182880"/>
          </a:xfrm>
          <a:prstGeom prst="rect">
            <a:avLst/>
          </a:prstGeom>
        </p:spPr>
        <p:txBody>
          <a:bodyPr anchor="b"/>
          <a:lstStyle>
            <a:lvl1pPr algn="ctr">
              <a:defRPr sz="800"/>
            </a:lvl1pPr>
          </a:lstStyle>
          <a:p>
            <a:r>
              <a:rPr lang="en-US" dirty="0"/>
              <a:t>©2020 Guidehouse Inc.</a:t>
            </a:r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B75C730C-0C51-4795-B3B6-1022205AD1E1}"/>
              </a:ext>
            </a:extLst>
          </p:cNvPr>
          <p:cNvSpPr txBox="1">
            <a:spLocks/>
          </p:cNvSpPr>
          <p:nvPr userDrawn="1"/>
        </p:nvSpPr>
        <p:spPr>
          <a:xfrm>
            <a:off x="3182062" y="6234888"/>
            <a:ext cx="5827876" cy="182880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 baseline="0">
                <a:solidFill>
                  <a:srgbClr val="898C8F"/>
                </a:solidFill>
                <a:latin typeface="+mj-lt"/>
                <a:ea typeface="+mn-ea"/>
                <a:cs typeface="+mn-cs"/>
              </a:defRPr>
            </a:lvl1pPr>
            <a:lvl2pPr marL="457178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2pPr>
            <a:lvl3pPr marL="914354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3pPr>
            <a:lvl4pPr marL="1371532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4pPr>
            <a:lvl5pPr marL="1828709" indent="0" algn="l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defRPr lang="en-US" sz="900" kern="1200" cap="all" normalizeH="0">
                <a:solidFill>
                  <a:srgbClr val="9CA1A4"/>
                </a:solidFill>
                <a:latin typeface="+mj-lt"/>
                <a:ea typeface="+mn-ea"/>
                <a:cs typeface="+mn-cs"/>
              </a:defRPr>
            </a:lvl5pPr>
            <a:lvl6pPr marL="21748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6pPr>
            <a:lvl7pPr marL="26320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7pPr>
            <a:lvl8pPr marL="30892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8pPr>
            <a:lvl9pPr marL="3546475" indent="-342900" algn="l" rtl="0" eaLnBrk="1" fontAlgn="base" hangingPunct="1">
              <a:spcBef>
                <a:spcPct val="20000"/>
              </a:spcBef>
              <a:spcAft>
                <a:spcPct val="0"/>
              </a:spcAft>
              <a:buSzPct val="125000"/>
              <a:buFont typeface="Palatino Linotype" pitchFamily="18" charset="0"/>
              <a:buChar char="▫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86000"/>
              </a:lnSpc>
              <a:spcBef>
                <a:spcPts val="0"/>
              </a:spcBef>
              <a:spcAft>
                <a:spcPct val="0"/>
              </a:spcAft>
              <a:buClr>
                <a:schemeClr val="accent1"/>
              </a:buClr>
              <a:buSzPct val="100000"/>
              <a:buFontTx/>
              <a:buNone/>
              <a:tabLst/>
              <a:defRPr/>
            </a:pPr>
            <a:r>
              <a:rPr lang="en-US" sz="800" kern="1200" cap="none" normalizeH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rPr>
              <a:t>©2020 Guidehouse Inc. </a:t>
            </a:r>
            <a:r>
              <a:rPr lang="en-US" sz="800" cap="none" baseline="0" dirty="0">
                <a:solidFill>
                  <a:schemeClr val="tx1"/>
                </a:solidFill>
              </a:rPr>
              <a:t>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842204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0" r:id="rId2"/>
    <p:sldLayoutId id="2147483686" r:id="rId3"/>
    <p:sldLayoutId id="2147483714" r:id="rId4"/>
    <p:sldLayoutId id="2147483650" r:id="rId5"/>
    <p:sldLayoutId id="2147483652" r:id="rId6"/>
    <p:sldLayoutId id="2147483656" r:id="rId7"/>
    <p:sldLayoutId id="2147483657" r:id="rId8"/>
    <p:sldLayoutId id="2147483715" r:id="rId9"/>
    <p:sldLayoutId id="2147483660" r:id="rId10"/>
    <p:sldLayoutId id="2147483661" r:id="rId11"/>
    <p:sldLayoutId id="2147483716" r:id="rId12"/>
    <p:sldLayoutId id="2147483689" r:id="rId13"/>
    <p:sldLayoutId id="2147483717" r:id="rId14"/>
    <p:sldLayoutId id="2147483674" r:id="rId15"/>
    <p:sldLayoutId id="2147483711" r:id="rId16"/>
    <p:sldLayoutId id="2147483713" r:id="rId17"/>
    <p:sldLayoutId id="2147483655" r:id="rId18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09728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8016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6304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45920" indent="-182880" algn="l" defTabSz="9144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8" userDrawn="1">
          <p15:clr>
            <a:srgbClr val="F26B43"/>
          </p15:clr>
        </p15:guide>
        <p15:guide id="2" pos="288" userDrawn="1">
          <p15:clr>
            <a:srgbClr val="F26B43"/>
          </p15:clr>
        </p15:guide>
        <p15:guide id="3" pos="7392" userDrawn="1">
          <p15:clr>
            <a:srgbClr val="F26B43"/>
          </p15:clr>
        </p15:guide>
        <p15:guide id="4" orient="horz" pos="40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hyperlink" Target="https://www.irena.org/-/media/Files/IRENA/Agency/Publication/2015/IRENA_REmap_Poland_paper_2015_EN.pdf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E05976B-3DB1-486E-AC15-7542F097C50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7013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499" imgH="499" progId="TCLayout.ActiveDocument.1">
                  <p:embed/>
                </p:oleObj>
              </mc:Choice>
              <mc:Fallback>
                <p:oleObj name="think-cell Slide" r:id="rId6" imgW="499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E05976B-3DB1-486E-AC15-7542F097C5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A5224F4-D9CD-4ED5-A9CE-47020D880CD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4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B9DB62-7740-4015-9623-764DF9201F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736725"/>
            <a:ext cx="7030720" cy="2057400"/>
          </a:xfrm>
        </p:spPr>
        <p:txBody>
          <a:bodyPr/>
          <a:lstStyle/>
          <a:p>
            <a:r>
              <a:rPr lang="pl-PL" dirty="0"/>
              <a:t>OZE jako odpowiedź na kryzys klimatyczny, zdrowotny i ekonomiczny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5CEBBB1D-F7D8-D340-BD20-6F0A5E12BD0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Iza Kielichowska, Associate Director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82C63F81-1062-794D-9B57-DA332B71ED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5 </a:t>
            </a:r>
            <a:r>
              <a:rPr lang="pl-PL" dirty="0"/>
              <a:t>października </a:t>
            </a:r>
            <a:r>
              <a:rPr lang="en-US" dirty="0"/>
              <a:t>2020</a:t>
            </a:r>
          </a:p>
        </p:txBody>
      </p:sp>
    </p:spTree>
    <p:extLst>
      <p:ext uri="{BB962C8B-B14F-4D97-AF65-F5344CB8AC3E}">
        <p14:creationId xmlns:p14="http://schemas.microsoft.com/office/powerpoint/2010/main" val="2090374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43DA5EE-F5CB-4EBA-9E2C-BF031193E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Co wyeliminować, żeby zwalczyć kryzys</a:t>
            </a:r>
            <a:r>
              <a:rPr lang="en-GB" dirty="0"/>
              <a:t>?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A385F5F-D789-4A19-813C-706CCB464169}"/>
              </a:ext>
            </a:extLst>
          </p:cNvPr>
          <p:cNvSpPr/>
          <p:nvPr/>
        </p:nvSpPr>
        <p:spPr>
          <a:xfrm>
            <a:off x="677439" y="1696720"/>
            <a:ext cx="3752320" cy="680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800" dirty="0">
                <a:solidFill>
                  <a:schemeClr val="bg1"/>
                </a:solidFill>
              </a:rPr>
              <a:t>DZI</a:t>
            </a:r>
            <a:r>
              <a:rPr lang="pl-PL" dirty="0">
                <a:solidFill>
                  <a:schemeClr val="bg1"/>
                </a:solidFill>
              </a:rPr>
              <a:t>Ś</a:t>
            </a:r>
            <a:r>
              <a:rPr lang="en-GB" sz="1800" dirty="0">
                <a:solidFill>
                  <a:schemeClr val="bg1"/>
                </a:solidFill>
              </a:rPr>
              <a:t>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9AB331F-8659-4C45-8ECA-EC30DCF2CC8E}"/>
              </a:ext>
            </a:extLst>
          </p:cNvPr>
          <p:cNvSpPr/>
          <p:nvPr/>
        </p:nvSpPr>
        <p:spPr>
          <a:xfrm>
            <a:off x="4653279" y="1696720"/>
            <a:ext cx="2956560" cy="68072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dirty="0">
                <a:solidFill>
                  <a:schemeClr val="bg1"/>
                </a:solidFill>
              </a:rPr>
              <a:t>EFEKT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7B51003-4995-4FBA-998F-0DB9535716CA}"/>
              </a:ext>
            </a:extLst>
          </p:cNvPr>
          <p:cNvSpPr/>
          <p:nvPr/>
        </p:nvSpPr>
        <p:spPr>
          <a:xfrm>
            <a:off x="7833359" y="1696720"/>
            <a:ext cx="3528000" cy="680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800" dirty="0">
                <a:solidFill>
                  <a:schemeClr val="bg1"/>
                </a:solidFill>
              </a:rPr>
              <a:t>JUTRO</a:t>
            </a:r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096D462-979D-447E-BC61-161144EC0006}"/>
              </a:ext>
            </a:extLst>
          </p:cNvPr>
          <p:cNvSpPr/>
          <p:nvPr/>
        </p:nvSpPr>
        <p:spPr>
          <a:xfrm>
            <a:off x="1473199" y="4097807"/>
            <a:ext cx="2956560" cy="680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Przestarzały 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EAD859D-B59D-44B5-9E5C-DA1B27D14C28}"/>
              </a:ext>
            </a:extLst>
          </p:cNvPr>
          <p:cNvSpPr/>
          <p:nvPr/>
        </p:nvSpPr>
        <p:spPr>
          <a:xfrm>
            <a:off x="4653279" y="4097807"/>
            <a:ext cx="2956560" cy="680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Drogi w utrzymaniu i modernizacji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57E08E1-B798-4A56-B7AB-32AB86DC66F8}"/>
              </a:ext>
            </a:extLst>
          </p:cNvPr>
          <p:cNvSpPr/>
          <p:nvPr/>
        </p:nvSpPr>
        <p:spPr>
          <a:xfrm>
            <a:off x="7833359" y="4097807"/>
            <a:ext cx="3528000" cy="68072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OZE jest tanie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87B8AB5-52A8-441A-B119-527FA7B9B7ED}"/>
              </a:ext>
            </a:extLst>
          </p:cNvPr>
          <p:cNvSpPr/>
          <p:nvPr/>
        </p:nvSpPr>
        <p:spPr>
          <a:xfrm>
            <a:off x="1473199" y="3343865"/>
            <a:ext cx="2956560" cy="680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Oparty o ograniczone zasoby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6C47BBB-E19F-4156-9285-36FD095B2939}"/>
              </a:ext>
            </a:extLst>
          </p:cNvPr>
          <p:cNvSpPr/>
          <p:nvPr/>
        </p:nvSpPr>
        <p:spPr>
          <a:xfrm>
            <a:off x="4653279" y="3343865"/>
            <a:ext cx="2956560" cy="680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Malejące bezpieczeństwo energetyczne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19B178-2BD1-4FD0-8F93-6D6895DACAB9}"/>
              </a:ext>
            </a:extLst>
          </p:cNvPr>
          <p:cNvSpPr/>
          <p:nvPr/>
        </p:nvSpPr>
        <p:spPr>
          <a:xfrm>
            <a:off x="7833359" y="3343865"/>
            <a:ext cx="3528000" cy="68072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OZE jest dużo 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B35685E-D425-41A2-AD0A-55AC023F7BD6}"/>
              </a:ext>
            </a:extLst>
          </p:cNvPr>
          <p:cNvSpPr/>
          <p:nvPr/>
        </p:nvSpPr>
        <p:spPr>
          <a:xfrm>
            <a:off x="1473199" y="2603062"/>
            <a:ext cx="2956560" cy="680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Wysokoemisyjny 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22AC402-CDC4-4E16-83CC-A51321DFFC09}"/>
              </a:ext>
            </a:extLst>
          </p:cNvPr>
          <p:cNvSpPr/>
          <p:nvPr/>
        </p:nvSpPr>
        <p:spPr>
          <a:xfrm>
            <a:off x="4653279" y="2603062"/>
            <a:ext cx="2956560" cy="680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Wysokie koszty leczenia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9D0FAA3-0B85-43FB-B3A3-4EC73D462414}"/>
              </a:ext>
            </a:extLst>
          </p:cNvPr>
          <p:cNvSpPr/>
          <p:nvPr/>
        </p:nvSpPr>
        <p:spPr>
          <a:xfrm>
            <a:off x="7833359" y="2603062"/>
            <a:ext cx="3528000" cy="68072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OZE jest czyste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00BC368-96D9-4FA4-A86C-1203C7445E4B}"/>
              </a:ext>
            </a:extLst>
          </p:cNvPr>
          <p:cNvSpPr/>
          <p:nvPr/>
        </p:nvSpPr>
        <p:spPr>
          <a:xfrm>
            <a:off x="1473199" y="4870844"/>
            <a:ext cx="2956560" cy="680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Skoncentrowany 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4E1E22C-CD48-4CD1-A946-975BE90FB86C}"/>
              </a:ext>
            </a:extLst>
          </p:cNvPr>
          <p:cNvSpPr/>
          <p:nvPr/>
        </p:nvSpPr>
        <p:spPr>
          <a:xfrm>
            <a:off x="4653279" y="4870844"/>
            <a:ext cx="2956560" cy="6807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Ograniczone możliwości gospodarcze i mało miejsc pracy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DB9D9EE-FB7F-4645-8FD7-FE620F2AB27C}"/>
              </a:ext>
            </a:extLst>
          </p:cNvPr>
          <p:cNvSpPr/>
          <p:nvPr/>
        </p:nvSpPr>
        <p:spPr>
          <a:xfrm>
            <a:off x="7833359" y="4870844"/>
            <a:ext cx="3528000" cy="68072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dirty="0">
                <a:solidFill>
                  <a:schemeClr val="bg1"/>
                </a:solidFill>
              </a:rPr>
              <a:t>OZE oferuje istotne możliwości rozwoju gospodarczego i wiele miejsc pracy 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A37BA22B-CEA0-4207-927F-ED36F72D774E}"/>
              </a:ext>
            </a:extLst>
          </p:cNvPr>
          <p:cNvSpPr/>
          <p:nvPr/>
        </p:nvSpPr>
        <p:spPr>
          <a:xfrm>
            <a:off x="677439" y="2578539"/>
            <a:ext cx="684000" cy="297420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>
              <a:lnSpc>
                <a:spcPct val="100000"/>
              </a:lnSpc>
            </a:pPr>
            <a:r>
              <a:rPr lang="pl-PL" sz="1600" b="1" dirty="0">
                <a:solidFill>
                  <a:schemeClr val="bg1"/>
                </a:solidFill>
              </a:rPr>
              <a:t>System energetyczny</a:t>
            </a:r>
            <a:endParaRPr lang="en-GB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840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370CBB7-3974-494A-B970-413423F0AC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ZE jest dużo </a:t>
            </a:r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2D0075-93C0-44D7-B525-D89010DBF9F7}"/>
              </a:ext>
            </a:extLst>
          </p:cNvPr>
          <p:cNvSpPr/>
          <p:nvPr/>
        </p:nvSpPr>
        <p:spPr>
          <a:xfrm>
            <a:off x="228599" y="5702586"/>
            <a:ext cx="117347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indent="-228600">
              <a:buAutoNum type="arabicPeriod"/>
            </a:pPr>
            <a:r>
              <a:rPr lang="en-US" sz="1000" dirty="0"/>
              <a:t>IRENA, 2030 REMAP for Poland, </a:t>
            </a:r>
            <a:r>
              <a:rPr lang="en-GB" sz="1000" dirty="0">
                <a:hlinkClick r:id="rId2"/>
              </a:rPr>
              <a:t>https://www.irena.org/-/media/Files/IRENA/Agency/Publication/2015/IRENA_REmap_Poland_paper_2015_EN.pdf</a:t>
            </a:r>
            <a:r>
              <a:rPr lang="en-GB" sz="1000" dirty="0"/>
              <a:t>, </a:t>
            </a:r>
          </a:p>
          <a:p>
            <a:pPr marL="228600" indent="-228600">
              <a:buAutoNum type="arabicPeriod"/>
            </a:pPr>
            <a:r>
              <a:rPr lang="en-GB" sz="1000" dirty="0"/>
              <a:t>Navigant a Guidehouse company, Sector Coupling Opportunities in Poland in 2050 for Forum Energii, https://asset-ec.eu/home/advanced-system-studies/cluster-3/technology-pathways-in-decarbonisation-scenarios/</a:t>
            </a:r>
          </a:p>
          <a:p>
            <a:r>
              <a:rPr lang="en-US" sz="1000" dirty="0"/>
              <a:t> </a:t>
            </a:r>
            <a:endParaRPr lang="en-GB" sz="10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15849AD-6865-4CB0-9003-3A1FB4D3DDE7}"/>
              </a:ext>
            </a:extLst>
          </p:cNvPr>
          <p:cNvSpPr/>
          <p:nvPr/>
        </p:nvSpPr>
        <p:spPr>
          <a:xfrm>
            <a:off x="675999" y="1557024"/>
            <a:ext cx="4871360" cy="680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b="1" dirty="0">
                <a:solidFill>
                  <a:schemeClr val="bg1"/>
                </a:solidFill>
              </a:rPr>
              <a:t>W </a:t>
            </a:r>
            <a:r>
              <a:rPr lang="en-GB" sz="1600" b="1" dirty="0">
                <a:solidFill>
                  <a:schemeClr val="bg1"/>
                </a:solidFill>
              </a:rPr>
              <a:t>2015</a:t>
            </a:r>
            <a:r>
              <a:rPr lang="pl-PL" sz="1600" b="1" dirty="0">
                <a:solidFill>
                  <a:schemeClr val="bg1"/>
                </a:solidFill>
              </a:rPr>
              <a:t>r</a:t>
            </a:r>
            <a:r>
              <a:rPr lang="en-GB" sz="1600" b="1" dirty="0">
                <a:solidFill>
                  <a:schemeClr val="bg1"/>
                </a:solidFill>
              </a:rPr>
              <a:t>, IRENA </a:t>
            </a:r>
            <a:r>
              <a:rPr lang="pl-PL" sz="1600" b="1" dirty="0">
                <a:solidFill>
                  <a:schemeClr val="bg1"/>
                </a:solidFill>
              </a:rPr>
              <a:t>prognozowała rozwój OZE- E  do poziomu </a:t>
            </a:r>
            <a:r>
              <a:rPr lang="en-GB" sz="1600" b="1" dirty="0">
                <a:solidFill>
                  <a:schemeClr val="bg1"/>
                </a:solidFill>
              </a:rPr>
              <a:t>38% </a:t>
            </a:r>
            <a:r>
              <a:rPr lang="pl-PL" sz="1600" b="1" dirty="0">
                <a:solidFill>
                  <a:schemeClr val="bg1"/>
                </a:solidFill>
              </a:rPr>
              <a:t>w 2030 r. w Polsce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CAF0722-733D-410E-B1B4-F0A23B0F7EBF}"/>
              </a:ext>
            </a:extLst>
          </p:cNvPr>
          <p:cNvSpPr/>
          <p:nvPr/>
        </p:nvSpPr>
        <p:spPr>
          <a:xfrm>
            <a:off x="6412230" y="1557024"/>
            <a:ext cx="4871360" cy="6807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pl-PL" sz="1600" b="1" dirty="0">
                <a:solidFill>
                  <a:schemeClr val="bg1"/>
                </a:solidFill>
              </a:rPr>
              <a:t>Dziś, Guidehouse prognozuje </a:t>
            </a:r>
            <a:r>
              <a:rPr lang="en-GB" sz="1600" b="1" dirty="0">
                <a:solidFill>
                  <a:schemeClr val="bg1"/>
                </a:solidFill>
              </a:rPr>
              <a:t>100% </a:t>
            </a:r>
            <a:r>
              <a:rPr lang="pl-PL" sz="1600" b="1" dirty="0">
                <a:solidFill>
                  <a:schemeClr val="bg1"/>
                </a:solidFill>
              </a:rPr>
              <a:t>OZE w całym systemie energetycznym (energia elektryczna, ciepło, transport) w 2050 r.</a:t>
            </a:r>
            <a:endParaRPr lang="en-GB" sz="1600" b="1" dirty="0">
              <a:solidFill>
                <a:schemeClr val="bg1"/>
              </a:solidFill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F36CA2D9-92F2-419B-8053-6F0699844F3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4408031"/>
              </p:ext>
            </p:extLst>
          </p:nvPr>
        </p:nvGraphicFramePr>
        <p:xfrm>
          <a:off x="675998" y="2382520"/>
          <a:ext cx="4871359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3505AD3B-7072-4DBC-B9E6-50D0D4CC558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58559" y="2336800"/>
            <a:ext cx="4954935" cy="2788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125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74CAB4-5972-44DC-9F1F-C4CDB55C02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ZE jest tanie z dalszą tendencją do spadku kosztów</a:t>
            </a:r>
            <a:endParaRPr lang="en-GB" dirty="0"/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62D5B8D-B5A0-4F34-8424-A1075AE9DC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8194786"/>
              </p:ext>
            </p:extLst>
          </p:nvPr>
        </p:nvGraphicFramePr>
        <p:xfrm>
          <a:off x="396239" y="1514639"/>
          <a:ext cx="11399518" cy="4349760"/>
        </p:xfrm>
        <a:graphic>
          <a:graphicData uri="http://schemas.openxmlformats.org/drawingml/2006/table">
            <a:tbl>
              <a:tblPr>
                <a:tableStyleId>{C58410AB-49FD-4155-AA68-D7106E744336}</a:tableStyleId>
              </a:tblPr>
              <a:tblGrid>
                <a:gridCol w="6413854">
                  <a:extLst>
                    <a:ext uri="{9D8B030D-6E8A-4147-A177-3AD203B41FA5}">
                      <a16:colId xmlns:a16="http://schemas.microsoft.com/office/drawing/2014/main" val="1564871319"/>
                    </a:ext>
                  </a:extLst>
                </a:gridCol>
                <a:gridCol w="830944">
                  <a:extLst>
                    <a:ext uri="{9D8B030D-6E8A-4147-A177-3AD203B41FA5}">
                      <a16:colId xmlns:a16="http://schemas.microsoft.com/office/drawing/2014/main" val="2886644073"/>
                    </a:ext>
                  </a:extLst>
                </a:gridCol>
                <a:gridCol w="830944">
                  <a:extLst>
                    <a:ext uri="{9D8B030D-6E8A-4147-A177-3AD203B41FA5}">
                      <a16:colId xmlns:a16="http://schemas.microsoft.com/office/drawing/2014/main" val="2884104792"/>
                    </a:ext>
                  </a:extLst>
                </a:gridCol>
                <a:gridCol w="830944">
                  <a:extLst>
                    <a:ext uri="{9D8B030D-6E8A-4147-A177-3AD203B41FA5}">
                      <a16:colId xmlns:a16="http://schemas.microsoft.com/office/drawing/2014/main" val="2535213348"/>
                    </a:ext>
                  </a:extLst>
                </a:gridCol>
                <a:gridCol w="830944">
                  <a:extLst>
                    <a:ext uri="{9D8B030D-6E8A-4147-A177-3AD203B41FA5}">
                      <a16:colId xmlns:a16="http://schemas.microsoft.com/office/drawing/2014/main" val="3080464489"/>
                    </a:ext>
                  </a:extLst>
                </a:gridCol>
                <a:gridCol w="830944">
                  <a:extLst>
                    <a:ext uri="{9D8B030D-6E8A-4147-A177-3AD203B41FA5}">
                      <a16:colId xmlns:a16="http://schemas.microsoft.com/office/drawing/2014/main" val="608167293"/>
                    </a:ext>
                  </a:extLst>
                </a:gridCol>
                <a:gridCol w="830944">
                  <a:extLst>
                    <a:ext uri="{9D8B030D-6E8A-4147-A177-3AD203B41FA5}">
                      <a16:colId xmlns:a16="http://schemas.microsoft.com/office/drawing/2014/main" val="3600135437"/>
                    </a:ext>
                  </a:extLst>
                </a:gridCol>
              </a:tblGrid>
              <a:tr h="62039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Wybrane przykłady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CAPEX</a:t>
                      </a:r>
                    </a:p>
                    <a:p>
                      <a:pPr algn="ct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EUR/ kW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OPEX stały</a:t>
                      </a:r>
                      <a:r>
                        <a:rPr lang="en-US" sz="1400" u="none" strike="noStrike" dirty="0">
                          <a:effectLst/>
                          <a:latin typeface="+mn-lt"/>
                        </a:rPr>
                        <a:t> EUR/kW </a:t>
                      </a:r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na rok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Zmienny OPEX (bez kosztów paliwa i CO2)</a:t>
                      </a:r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, EUR/MWh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958269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 dirty="0">
                          <a:effectLst/>
                          <a:latin typeface="+mn-lt"/>
                        </a:rPr>
                        <a:t>2050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 dirty="0">
                          <a:effectLst/>
                          <a:latin typeface="+mn-lt"/>
                        </a:rPr>
                        <a:t>2050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1" u="none" strike="noStrike" dirty="0">
                          <a:effectLst/>
                          <a:latin typeface="+mn-lt"/>
                        </a:rPr>
                        <a:t>2050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99497360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Elektrownie jądrowe III generacji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60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60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2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0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6.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7.8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908792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Jednostki nadkrytyczne na węgiel brunatny z CCS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36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32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68.6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60.6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6.2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4.0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828868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ergetyka wodna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45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3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8.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.1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5820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Jednostki z kotłami fluidalnymi na węgiel brunatny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28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28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2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.2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4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.4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027866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Energetyka wiatrowa na morzu, średnie warunki wiatrowe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78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81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42.2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0.3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0.3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506703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Jednostki nadkrytyczne na węgiel kamienny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7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7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41.4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30.9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3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3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74818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Jednostki na biomasę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20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7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.5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.4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6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56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324209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Konwencjonalne jednostki na węgiel kamienny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6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6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6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.6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dirty="0"/>
                        <a:t>2.4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400" dirty="0"/>
                        <a:t>2.4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109322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Energetyka wiatrowa na lądzie, bardzo dobre warunki wiatrowe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20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848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.0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.00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0.2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0.25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30479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u="none" strike="noStrike" dirty="0">
                          <a:effectLst/>
                          <a:latin typeface="+mn-lt"/>
                        </a:rPr>
                        <a:t>Turbina gazowa</a:t>
                      </a:r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*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72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64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5.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u="none" strike="noStrike" dirty="0">
                          <a:effectLst/>
                          <a:latin typeface="+mn-lt"/>
                        </a:rPr>
                        <a:t>15.0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1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.31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7585082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l" fontAlgn="b"/>
                      <a:r>
                        <a:rPr lang="pl-PL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otowoltaika, średnie warunki 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0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4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.6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.2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108000" marR="108000" marT="36000" marB="3600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GB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108000" marR="108000" marT="36000" marB="36000" anchor="b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414287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7F5E1A16-7AC4-4B84-A35D-A2F7C2CEE948}"/>
              </a:ext>
            </a:extLst>
          </p:cNvPr>
          <p:cNvSpPr txBox="1"/>
          <p:nvPr/>
        </p:nvSpPr>
        <p:spPr>
          <a:xfrm>
            <a:off x="396239" y="5897124"/>
            <a:ext cx="2997200" cy="1828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buSzPct val="100000"/>
            </a:pPr>
            <a:r>
              <a:rPr lang="en-GB" sz="1000" dirty="0"/>
              <a:t>* </a:t>
            </a:r>
            <a:r>
              <a:rPr lang="pl-PL" sz="1000" dirty="0"/>
              <a:t>Turbiny gazowe można też opalać zielonym gazem, w tym – zielonym wodorem</a:t>
            </a:r>
            <a:endParaRPr lang="en-GB" sz="1000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8D18009-AF13-4C3F-BC63-0762363037FE}"/>
              </a:ext>
            </a:extLst>
          </p:cNvPr>
          <p:cNvSpPr/>
          <p:nvPr/>
        </p:nvSpPr>
        <p:spPr>
          <a:xfrm>
            <a:off x="0" y="6478489"/>
            <a:ext cx="117957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Guidehouse, E3M, Tractebel, Technology Pathways in Decarbonisation Scenarios, 2018, https://asset-ec.eu/home/advanced-system-studies/cluster-3/technology-pathways-in-decarbonisation-scenarios/ </a:t>
            </a:r>
          </a:p>
          <a:p>
            <a:r>
              <a:rPr lang="en-US" sz="1000" dirty="0"/>
              <a:t> </a:t>
            </a:r>
            <a:endParaRPr lang="en-GB" sz="1000" dirty="0"/>
          </a:p>
        </p:txBody>
      </p:sp>
    </p:spTree>
    <p:extLst>
      <p:ext uri="{BB962C8B-B14F-4D97-AF65-F5344CB8AC3E}">
        <p14:creationId xmlns:p14="http://schemas.microsoft.com/office/powerpoint/2010/main" val="4287395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2DC3E44-AF9E-4A7A-95AB-6681BAF74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ZE tworzą wiele miejsc pracy w rozproszony sposób,</a:t>
            </a:r>
            <a:br>
              <a:rPr lang="pl-PL" dirty="0"/>
            </a:br>
            <a:r>
              <a:rPr lang="pl-PL" dirty="0"/>
              <a:t>oferują szeroki zakres stanowisk i znaczące możliwości biznesowe</a:t>
            </a:r>
            <a:br>
              <a:rPr lang="pl-PL" dirty="0"/>
            </a:br>
            <a:endParaRPr lang="en-GB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E6411AA0-A1EA-41D7-A16E-22BFAFF3753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93890733"/>
              </p:ext>
            </p:extLst>
          </p:nvPr>
        </p:nvGraphicFramePr>
        <p:xfrm>
          <a:off x="1239520" y="1727200"/>
          <a:ext cx="9794240" cy="381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322966AA-4A19-49CA-B39B-294B2A08EC9F}"/>
              </a:ext>
            </a:extLst>
          </p:cNvPr>
          <p:cNvSpPr/>
          <p:nvPr/>
        </p:nvSpPr>
        <p:spPr>
          <a:xfrm>
            <a:off x="0" y="6478489"/>
            <a:ext cx="1179575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000" dirty="0"/>
              <a:t>Cambridge Econometrics, EY, Exergia, E3MLab, </a:t>
            </a:r>
            <a:r>
              <a:rPr lang="en-US" sz="1000" dirty="0">
                <a:solidFill>
                  <a:srgbClr val="000000"/>
                </a:solidFill>
              </a:rPr>
              <a:t>Employment Effects of selected scenarios from the Energy roadmap 2050, 2013, https://ec.europa.eu/energy/sites/ener/files/documents/2013_report_employment_effects_roadmap_2050_2.pdf    </a:t>
            </a:r>
            <a:r>
              <a:rPr lang="en-GB" sz="10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6003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EA082B0-82DE-488D-8557-579E8D1454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6214892"/>
              </p:ext>
            </p:extLst>
          </p:nvPr>
        </p:nvGraphicFramePr>
        <p:xfrm>
          <a:off x="457199" y="1776061"/>
          <a:ext cx="3057525" cy="100584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3057525">
                  <a:extLst>
                    <a:ext uri="{9D8B030D-6E8A-4147-A177-3AD203B41FA5}">
                      <a16:colId xmlns:a16="http://schemas.microsoft.com/office/drawing/2014/main" val="54889969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i="0" u="none" strike="noStrike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za Kielichowska</a:t>
                      </a:r>
                      <a:br>
                        <a:rPr lang="en-US" sz="1800" b="1" i="0" u="none" strike="noStrike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1" i="0" u="none" strike="noStrike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ssociate Director</a:t>
                      </a:r>
                      <a:br>
                        <a:rPr lang="en-US" sz="1800" b="0" i="0" u="none" strike="noStrike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0" i="0" u="none" strike="noStrike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zabela.Kielichowskal@guidehouse.co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u="none" strike="noStrike" kern="1200" baseline="300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+32 471821941</a:t>
                      </a:r>
                    </a:p>
                  </a:txBody>
                  <a:tcPr marT="182880" marB="9144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24223059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D91D61F-C5A9-4AD8-84BB-6F8F245FD73D}"/>
              </a:ext>
            </a:extLst>
          </p:cNvPr>
          <p:cNvSpPr txBox="1"/>
          <p:nvPr/>
        </p:nvSpPr>
        <p:spPr>
          <a:xfrm>
            <a:off x="447038" y="325120"/>
            <a:ext cx="2560322" cy="599440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buSzPct val="100000"/>
            </a:pPr>
            <a:r>
              <a:rPr lang="pl-PL" sz="4800" b="1" dirty="0"/>
              <a:t>Kontakt</a:t>
            </a:r>
            <a:endParaRPr lang="en-GB" sz="4800" b="1" dirty="0"/>
          </a:p>
        </p:txBody>
      </p:sp>
    </p:spTree>
    <p:extLst>
      <p:ext uri="{BB962C8B-B14F-4D97-AF65-F5344CB8AC3E}">
        <p14:creationId xmlns:p14="http://schemas.microsoft.com/office/powerpoint/2010/main" val="376665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279Wxjw1M.GgTstr8g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5ldjuleSQmDDe1aIKFSA"/>
</p:tagLst>
</file>

<file path=ppt/theme/theme1.xml><?xml version="1.0" encoding="utf-8"?>
<a:theme xmlns:a="http://schemas.openxmlformats.org/drawingml/2006/main" name="Guidehouse">
  <a:themeElements>
    <a:clrScheme name="2020 Template">
      <a:dk1>
        <a:srgbClr val="000000"/>
      </a:dk1>
      <a:lt1>
        <a:srgbClr val="FFFFFF"/>
      </a:lt1>
      <a:dk2>
        <a:srgbClr val="7F7F7F"/>
      </a:dk2>
      <a:lt2>
        <a:srgbClr val="F4F4F4"/>
      </a:lt2>
      <a:accent1>
        <a:srgbClr val="93D500"/>
      </a:accent1>
      <a:accent2>
        <a:srgbClr val="40840B"/>
      </a:accent2>
      <a:accent3>
        <a:srgbClr val="FADC33"/>
      </a:accent3>
      <a:accent4>
        <a:srgbClr val="1F55C9"/>
      </a:accent4>
      <a:accent5>
        <a:srgbClr val="F9B723"/>
      </a:accent5>
      <a:accent6>
        <a:srgbClr val="F26931"/>
      </a:accent6>
      <a:hlink>
        <a:srgbClr val="1F55C9"/>
      </a:hlink>
      <a:folHlink>
        <a:srgbClr val="1F55C9"/>
      </a:folHlink>
    </a:clrScheme>
    <a:fontScheme name="Guidehous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uidehouse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100000"/>
          </a:lnSpc>
          <a:defRPr sz="1800" dirty="0" err="1" smtClean="0">
            <a:solidFill>
              <a:schemeClr val="tx1"/>
            </a:solidFill>
          </a:defRPr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82880" indent="-182880">
          <a:lnSpc>
            <a:spcPct val="100000"/>
          </a:lnSpc>
          <a:spcBef>
            <a:spcPts val="1200"/>
          </a:spcBef>
          <a:buSzPct val="100000"/>
          <a:buFont typeface="Arial"/>
          <a:buChar char="•"/>
          <a:defRPr sz="1800"/>
        </a:defPPr>
      </a:lstStyle>
    </a:txDef>
  </a:objectDefaults>
  <a:extraClrSchemeLst/>
  <a:custClrLst>
    <a:custClr name="Guidehouse Green">
      <a:srgbClr val="93D500"/>
    </a:custClr>
    <a:custClr name="Guidehouse Light Green">
      <a:srgbClr val="C3EC0C"/>
    </a:custClr>
    <a:custClr name="Guidehouse Yellow">
      <a:srgbClr val="FADC33"/>
    </a:custClr>
    <a:custClr name="Dark Green">
      <a:srgbClr val="40840B"/>
    </a:custClr>
    <a:custClr name="Blue">
      <a:srgbClr val="1F55C9"/>
    </a:custClr>
    <a:custClr name="Light Orange">
      <a:srgbClr val="F9B723"/>
    </a:custClr>
    <a:custClr name="Orange">
      <a:srgbClr val="F26931"/>
    </a:custClr>
    <a:custClr name="Light Gray">
      <a:srgbClr val="F4F4F4"/>
    </a:custClr>
    <a:custClr name="Gray">
      <a:srgbClr val="E5E5E5"/>
    </a:custClr>
    <a:custClr name="Medium Gray">
      <a:srgbClr val="7F7F7F"/>
    </a:custClr>
    <a:custClr name="Dark Gray">
      <a:srgbClr val="262626"/>
    </a:custClr>
  </a:custClrLst>
  <a:extLst>
    <a:ext uri="{05A4C25C-085E-4340-85A3-A5531E510DB2}">
      <thm15:themeFamily xmlns:thm15="http://schemas.microsoft.com/office/thememl/2012/main" name="Blank" id="{07A179F9-FC74-4060-96BB-77463F1382E5}" vid="{1742A17B-0CE9-4F14-B593-50950A1ECA34}"/>
    </a:ext>
  </a:extLst>
</a:theme>
</file>

<file path=ppt/theme/theme2.xml><?xml version="1.0" encoding="utf-8"?>
<a:theme xmlns:a="http://schemas.openxmlformats.org/drawingml/2006/main" name="Guidehouse">
  <a:themeElements>
    <a:clrScheme name="Guidehouse Colors">
      <a:dk1>
        <a:srgbClr val="000000"/>
      </a:dk1>
      <a:lt1>
        <a:srgbClr val="FFFFFF"/>
      </a:lt1>
      <a:dk2>
        <a:srgbClr val="7F7F7F"/>
      </a:dk2>
      <a:lt2>
        <a:srgbClr val="F4F4F4"/>
      </a:lt2>
      <a:accent1>
        <a:srgbClr val="93D500"/>
      </a:accent1>
      <a:accent2>
        <a:srgbClr val="40840B"/>
      </a:accent2>
      <a:accent3>
        <a:srgbClr val="FADC33"/>
      </a:accent3>
      <a:accent4>
        <a:srgbClr val="F9B723"/>
      </a:accent4>
      <a:accent5>
        <a:srgbClr val="F26931"/>
      </a:accent5>
      <a:accent6>
        <a:srgbClr val="1F55C9"/>
      </a:accent6>
      <a:hlink>
        <a:srgbClr val="40840B"/>
      </a:hlink>
      <a:folHlink>
        <a:srgbClr val="40840B"/>
      </a:folHlink>
    </a:clrScheme>
    <a:fontScheme name="Guidehous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uidehouse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8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82880" indent="-182880">
          <a:lnSpc>
            <a:spcPct val="100000"/>
          </a:lnSpc>
          <a:spcBef>
            <a:spcPts val="1200"/>
          </a:spcBef>
          <a:buSzPct val="100000"/>
          <a:buFont typeface="Arial"/>
          <a:buChar char="•"/>
          <a:defRPr sz="1800"/>
        </a:defPPr>
      </a:lstStyle>
    </a:txDef>
  </a:objectDefaults>
  <a:extraClrSchemeLst/>
  <a:custClrLst>
    <a:custClr name="Guidehouse Green">
      <a:srgbClr val="93D500"/>
    </a:custClr>
    <a:custClr name="Guidehouse Light Green">
      <a:srgbClr val="C3EC0C"/>
    </a:custClr>
    <a:custClr name="Guidehouse Yellow">
      <a:srgbClr val="FADC33"/>
    </a:custClr>
    <a:custClr name="Dark Green">
      <a:srgbClr val="40840B"/>
    </a:custClr>
    <a:custClr name="Blue">
      <a:srgbClr val="1F55C9"/>
    </a:custClr>
    <a:custClr name="Light Orange">
      <a:srgbClr val="F9B723"/>
    </a:custClr>
    <a:custClr name="Orange">
      <a:srgbClr val="F26931"/>
    </a:custClr>
    <a:custClr name="Light Gray">
      <a:srgbClr val="F4F4F4"/>
    </a:custClr>
    <a:custClr name="Gray">
      <a:srgbClr val="E5E5E5"/>
    </a:custClr>
    <a:custClr name="Medium Gray">
      <a:srgbClr val="7F7F7F"/>
    </a:custClr>
    <a:custClr name="Dark Gray">
      <a:srgbClr val="262626"/>
    </a:custClr>
  </a:custClrLst>
</a:theme>
</file>

<file path=ppt/theme/theme3.xml><?xml version="1.0" encoding="utf-8"?>
<a:theme xmlns:a="http://schemas.openxmlformats.org/drawingml/2006/main" name="Guidehouse">
  <a:themeElements>
    <a:clrScheme name="Guidehouse Colors">
      <a:dk1>
        <a:srgbClr val="000000"/>
      </a:dk1>
      <a:lt1>
        <a:srgbClr val="FFFFFF"/>
      </a:lt1>
      <a:dk2>
        <a:srgbClr val="7F7F7F"/>
      </a:dk2>
      <a:lt2>
        <a:srgbClr val="F4F4F4"/>
      </a:lt2>
      <a:accent1>
        <a:srgbClr val="93D500"/>
      </a:accent1>
      <a:accent2>
        <a:srgbClr val="40840B"/>
      </a:accent2>
      <a:accent3>
        <a:srgbClr val="FADC33"/>
      </a:accent3>
      <a:accent4>
        <a:srgbClr val="F9B723"/>
      </a:accent4>
      <a:accent5>
        <a:srgbClr val="F26931"/>
      </a:accent5>
      <a:accent6>
        <a:srgbClr val="1F55C9"/>
      </a:accent6>
      <a:hlink>
        <a:srgbClr val="40840B"/>
      </a:hlink>
      <a:folHlink>
        <a:srgbClr val="40840B"/>
      </a:folHlink>
    </a:clrScheme>
    <a:fontScheme name="Guidehous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Guidehouse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8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182880" indent="-182880">
          <a:lnSpc>
            <a:spcPct val="100000"/>
          </a:lnSpc>
          <a:spcBef>
            <a:spcPts val="1200"/>
          </a:spcBef>
          <a:buSzPct val="100000"/>
          <a:buFont typeface="Arial"/>
          <a:buChar char="•"/>
          <a:defRPr sz="1800"/>
        </a:defPPr>
      </a:lstStyle>
    </a:txDef>
  </a:objectDefaults>
  <a:extraClrSchemeLst/>
  <a:custClrLst>
    <a:custClr name="Guidehouse Green">
      <a:srgbClr val="93D500"/>
    </a:custClr>
    <a:custClr name="Guidehouse Light Green">
      <a:srgbClr val="C3EC0C"/>
    </a:custClr>
    <a:custClr name="Guidehouse Yellow">
      <a:srgbClr val="FADC33"/>
    </a:custClr>
    <a:custClr name="Dark Green">
      <a:srgbClr val="40840B"/>
    </a:custClr>
    <a:custClr name="Blue">
      <a:srgbClr val="1F55C9"/>
    </a:custClr>
    <a:custClr name="Light Orange">
      <a:srgbClr val="F9B723"/>
    </a:custClr>
    <a:custClr name="Orange">
      <a:srgbClr val="F26931"/>
    </a:custClr>
    <a:custClr name="Light Gray">
      <a:srgbClr val="F4F4F4"/>
    </a:custClr>
    <a:custClr name="Gray">
      <a:srgbClr val="E5E5E5"/>
    </a:custClr>
    <a:custClr name="Medium Gray">
      <a:srgbClr val="7F7F7F"/>
    </a:custClr>
    <a:custClr name="Dark Gray">
      <a:srgbClr val="262626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D87F8DCDABED244BEC2BB6563B755D2" ma:contentTypeVersion="13" ma:contentTypeDescription="Create a new document." ma:contentTypeScope="" ma:versionID="27b49a14132ba8f37a61c3ed63f74b95">
  <xsd:schema xmlns:xsd="http://www.w3.org/2001/XMLSchema" xmlns:xs="http://www.w3.org/2001/XMLSchema" xmlns:p="http://schemas.microsoft.com/office/2006/metadata/properties" xmlns:ns3="57ae4465-147e-4ee9-804c-4d1df3b382e6" xmlns:ns4="1b0863b8-7ccb-4ca1-a20e-1ffdd48e7fd9" targetNamespace="http://schemas.microsoft.com/office/2006/metadata/properties" ma:root="true" ma:fieldsID="20c76a08d941d41852399fa6012f1d1b" ns3:_="" ns4:_="">
    <xsd:import namespace="57ae4465-147e-4ee9-804c-4d1df3b382e6"/>
    <xsd:import namespace="1b0863b8-7ccb-4ca1-a20e-1ffdd48e7fd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ae4465-147e-4ee9-804c-4d1df3b382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0863b8-7ccb-4ca1-a20e-1ffdd48e7fd9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DB21A46-789E-4AAB-9E1C-1DE9F04CDD34}">
  <ds:schemaRefs>
    <ds:schemaRef ds:uri="http://schemas.openxmlformats.org/package/2006/metadata/core-properties"/>
    <ds:schemaRef ds:uri="http://schemas.microsoft.com/office/2006/documentManagement/types"/>
    <ds:schemaRef ds:uri="57ae4465-147e-4ee9-804c-4d1df3b382e6"/>
    <ds:schemaRef ds:uri="http://schemas.microsoft.com/office/2006/metadata/properties"/>
    <ds:schemaRef ds:uri="http://purl.org/dc/elements/1.1/"/>
    <ds:schemaRef ds:uri="http://www.w3.org/XML/1998/namespace"/>
    <ds:schemaRef ds:uri="http://purl.org/dc/terms/"/>
    <ds:schemaRef ds:uri="http://schemas.microsoft.com/office/infopath/2007/PartnerControls"/>
    <ds:schemaRef ds:uri="1b0863b8-7ccb-4ca1-a20e-1ffdd48e7fd9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328FF5C-0E1C-43E2-A8BC-FC3CF15DAAB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1C30C1-6FD4-4ACF-BB8B-3A6476DE2D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7ae4465-147e-4ee9-804c-4d1df3b382e6"/>
    <ds:schemaRef ds:uri="1b0863b8-7ccb-4ca1-a20e-1ffdd48e7fd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95</TotalTime>
  <Words>512</Words>
  <Application>Microsoft Office PowerPoint</Application>
  <PresentationFormat>Widescreen</PresentationFormat>
  <Paragraphs>128</Paragraphs>
  <Slides>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Neue Haas Grotesk Display Std 55 Roman</vt:lpstr>
      <vt:lpstr>Guidehouse</vt:lpstr>
      <vt:lpstr>think-cell Slide</vt:lpstr>
      <vt:lpstr>OZE jako odpowiedź na kryzys klimatyczny, zdrowotny i ekonomiczny</vt:lpstr>
      <vt:lpstr>Co wyeliminować, żeby zwalczyć kryzys?</vt:lpstr>
      <vt:lpstr>OZE jest dużo </vt:lpstr>
      <vt:lpstr>OZE jest tanie z dalszą tendencją do spadku kosztów</vt:lpstr>
      <vt:lpstr>OZE tworzą wiele miejsc pracy w rozproszony sposób, oferują szeroki zakres stanowisk i znaczące możliwości biznesowe </vt:lpstr>
      <vt:lpstr>PowerPoint Presentation</vt:lpstr>
    </vt:vector>
  </TitlesOfParts>
  <Manager/>
  <Company>Guidehouse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ES as a response to the climate-, health- and economic crisis</dc:title>
  <dc:subject/>
  <dc:creator>Izabela Kielichowska</dc:creator>
  <cp:keywords/>
  <dc:description/>
  <cp:lastModifiedBy>Izabela Kielichowska</cp:lastModifiedBy>
  <cp:revision>3</cp:revision>
  <cp:lastPrinted>2020-10-05T14:19:14Z</cp:lastPrinted>
  <dcterms:created xsi:type="dcterms:W3CDTF">2020-10-05T07:55:18Z</dcterms:created>
  <dcterms:modified xsi:type="dcterms:W3CDTF">2020-10-05T14:30:53Z</dcterms:modified>
  <cp:category>GH_Template_wide_arial_1-2020_Interim_v1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D87F8DCDABED244BEC2BB6563B755D2</vt:lpwstr>
  </property>
</Properties>
</file>